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649" r:id="rId4"/>
  </p:sldMasterIdLst>
  <p:notesMasterIdLst>
    <p:notesMasterId r:id="rId22"/>
  </p:notesMasterIdLst>
  <p:handoutMasterIdLst>
    <p:handoutMasterId r:id="rId23"/>
  </p:handoutMasterIdLst>
  <p:sldIdLst>
    <p:sldId id="810" r:id="rId5"/>
    <p:sldId id="828" r:id="rId6"/>
    <p:sldId id="830" r:id="rId7"/>
    <p:sldId id="791" r:id="rId8"/>
    <p:sldId id="793" r:id="rId9"/>
    <p:sldId id="836" r:id="rId10"/>
    <p:sldId id="795" r:id="rId11"/>
    <p:sldId id="796" r:id="rId12"/>
    <p:sldId id="809" r:id="rId13"/>
    <p:sldId id="831" r:id="rId14"/>
    <p:sldId id="792" r:id="rId15"/>
    <p:sldId id="794" r:id="rId16"/>
    <p:sldId id="822" r:id="rId17"/>
    <p:sldId id="837" r:id="rId18"/>
    <p:sldId id="833" r:id="rId19"/>
    <p:sldId id="834" r:id="rId20"/>
    <p:sldId id="835" r:id="rId21"/>
  </p:sldIdLst>
  <p:sldSz cx="12192000" cy="6858000"/>
  <p:notesSz cx="6794500" cy="9906000"/>
  <p:custDataLst>
    <p:tags r:id="rId24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3500" userDrawn="1">
          <p15:clr>
            <a:srgbClr val="A4A3A4"/>
          </p15:clr>
        </p15:guide>
        <p15:guide id="11" orient="horz" pos="2024" userDrawn="1">
          <p15:clr>
            <a:srgbClr val="A4A3A4"/>
          </p15:clr>
        </p15:guide>
        <p15:guide id="12" orient="horz" pos="3203" userDrawn="1">
          <p15:clr>
            <a:srgbClr val="A4A3A4"/>
          </p15:clr>
        </p15:guide>
        <p15:guide id="13" orient="horz" pos="2659" userDrawn="1">
          <p15:clr>
            <a:srgbClr val="A4A3A4"/>
          </p15:clr>
        </p15:guide>
        <p15:guide id="14" orient="horz" pos="1933" userDrawn="1">
          <p15:clr>
            <a:srgbClr val="A4A3A4"/>
          </p15:clr>
        </p15:guide>
        <p15:guide id="15" orient="horz" pos="66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cha, Francisco Ferreira (PT - Lisboa)" initials="RFF(-L" lastIdx="1" clrIdx="0">
    <p:extLst>
      <p:ext uri="{19B8F6BF-5375-455C-9EA6-DF929625EA0E}">
        <p15:presenceInfo xmlns:p15="http://schemas.microsoft.com/office/powerpoint/2012/main" userId="S-1-5-21-2094927150-201071529-617630493-1268399" providerId="AD"/>
      </p:ext>
    </p:extLst>
  </p:cmAuthor>
  <p:cmAuthor id="2" name="VERTMANN Merit (HOME)" initials="A" lastIdx="6" clrIdx="1">
    <p:extLst>
      <p:ext uri="{19B8F6BF-5375-455C-9EA6-DF929625EA0E}">
        <p15:presenceInfo xmlns:p15="http://schemas.microsoft.com/office/powerpoint/2012/main" userId="VERTMANN Merit (HOME)" providerId="None"/>
      </p:ext>
    </p:extLst>
  </p:cmAuthor>
  <p:cmAuthor id="3" name="Cosmelli, Mafalda Fernandes" initials="CMF" lastIdx="1" clrIdx="2">
    <p:extLst>
      <p:ext uri="{19B8F6BF-5375-455C-9EA6-DF929625EA0E}">
        <p15:presenceInfo xmlns:p15="http://schemas.microsoft.com/office/powerpoint/2012/main" userId="S-1-5-21-2094927150-201071529-617630493-1079994" providerId="AD"/>
      </p:ext>
    </p:extLst>
  </p:cmAuthor>
  <p:cmAuthor id="4" name="Loncheval, Laurent" initials="LL" lastIdx="9" clrIdx="3">
    <p:extLst>
      <p:ext uri="{19B8F6BF-5375-455C-9EA6-DF929625EA0E}">
        <p15:presenceInfo xmlns:p15="http://schemas.microsoft.com/office/powerpoint/2012/main" userId="S-1-5-21-2126658991-3233264-929701000-65885" providerId="AD"/>
      </p:ext>
    </p:extLst>
  </p:cmAuthor>
  <p:cmAuthor id="5" name="Kamarás, Éva" initials="KÉ" lastIdx="25" clrIdx="4">
    <p:extLst>
      <p:ext uri="{19B8F6BF-5375-455C-9EA6-DF929625EA0E}">
        <p15:presenceInfo xmlns:p15="http://schemas.microsoft.com/office/powerpoint/2012/main" userId="S-1-5-21-2126658991-3233264-929701000-67859" providerId="AD"/>
      </p:ext>
    </p:extLst>
  </p:cmAuthor>
  <p:cmAuthor id="6" name="Barbero, Martina" initials="BM" lastIdx="35" clrIdx="5">
    <p:extLst>
      <p:ext uri="{19B8F6BF-5375-455C-9EA6-DF929625EA0E}">
        <p15:presenceInfo xmlns:p15="http://schemas.microsoft.com/office/powerpoint/2012/main" userId="S-1-5-21-2126658991-3233264-929701000-94649" providerId="AD"/>
      </p:ext>
    </p:extLst>
  </p:cmAuthor>
  <p:cmAuthor id="7" name="Doumbouya, Laura" initials="DL" lastIdx="1" clrIdx="6">
    <p:extLst>
      <p:ext uri="{19B8F6BF-5375-455C-9EA6-DF929625EA0E}">
        <p15:presenceInfo xmlns:p15="http://schemas.microsoft.com/office/powerpoint/2012/main" userId="S-1-5-21-2126658991-3233264-929701000-100735" providerId="AD"/>
      </p:ext>
    </p:extLst>
  </p:cmAuthor>
  <p:cmAuthor id="8" name="Nikolov, Marc" initials="NM" lastIdx="2" clrIdx="7">
    <p:extLst>
      <p:ext uri="{19B8F6BF-5375-455C-9EA6-DF929625EA0E}">
        <p15:presenceInfo xmlns:p15="http://schemas.microsoft.com/office/powerpoint/2012/main" userId="S-1-5-21-2126658991-3233264-929701000-136323" providerId="AD"/>
      </p:ext>
    </p:extLst>
  </p:cmAuthor>
  <p:cmAuthor id="9" name="Eichholtzer, Marie" initials="EM" lastIdx="19" clrIdx="8">
    <p:extLst>
      <p:ext uri="{19B8F6BF-5375-455C-9EA6-DF929625EA0E}">
        <p15:presenceInfo xmlns:p15="http://schemas.microsoft.com/office/powerpoint/2012/main" userId="S::meichholtzer@deloitte.com::81327664-7afd-4af6-98f9-5e6684159c32" providerId="AD"/>
      </p:ext>
    </p:extLst>
  </p:cmAuthor>
  <p:cmAuthor id="10" name="Eichholtzer, Marie" initials="EM [2]" lastIdx="9" clrIdx="9">
    <p:extLst>
      <p:ext uri="{19B8F6BF-5375-455C-9EA6-DF929625EA0E}">
        <p15:presenceInfo xmlns:p15="http://schemas.microsoft.com/office/powerpoint/2012/main" userId="S-1-5-21-2126658991-3233264-929701000-102105" providerId="AD"/>
      </p:ext>
    </p:extLst>
  </p:cmAuthor>
  <p:cmAuthor id="11" name="Paquette, Joanie" initials="PJ [2]" lastIdx="65" clrIdx="10">
    <p:extLst>
      <p:ext uri="{19B8F6BF-5375-455C-9EA6-DF929625EA0E}">
        <p15:presenceInfo xmlns:p15="http://schemas.microsoft.com/office/powerpoint/2012/main" userId="S::jopaquette@deloitte.com::19992408-ac8f-4e53-844d-ded610032e41" providerId="AD"/>
      </p:ext>
    </p:extLst>
  </p:cmAuthor>
  <p:cmAuthor id="12" name="Papadimitriou, Angeliki" initials="PA" lastIdx="45" clrIdx="11">
    <p:extLst>
      <p:ext uri="{19B8F6BF-5375-455C-9EA6-DF929625EA0E}">
        <p15:presenceInfo xmlns:p15="http://schemas.microsoft.com/office/powerpoint/2012/main" userId="S-1-5-21-2094927150-201071529-617630493-1476523" providerId="AD"/>
      </p:ext>
    </p:extLst>
  </p:cmAuthor>
  <p:cmAuthor id="13" name="van der Peijl, Sebastiaan" initials="vdPS" lastIdx="5" clrIdx="12">
    <p:extLst>
      <p:ext uri="{19B8F6BF-5375-455C-9EA6-DF929625EA0E}">
        <p15:presenceInfo xmlns:p15="http://schemas.microsoft.com/office/powerpoint/2012/main" userId="S::sebvanderpeijl@deloitte.com::481c3d57-fe61-4e3b-bffc-e6eee94745e0" providerId="AD"/>
      </p:ext>
    </p:extLst>
  </p:cmAuthor>
  <p:cmAuthor id="14" name="Papadimitriou, Angeliki" initials="PA [2]" lastIdx="51" clrIdx="13">
    <p:extLst>
      <p:ext uri="{19B8F6BF-5375-455C-9EA6-DF929625EA0E}">
        <p15:presenceInfo xmlns:p15="http://schemas.microsoft.com/office/powerpoint/2012/main" userId="S::anpapadimitriou@deloitte.gr::9d398214-eee7-4498-8131-dce414aaeeb1" providerId="AD"/>
      </p:ext>
    </p:extLst>
  </p:cmAuthor>
  <p:cmAuthor id="15" name="de Graaf, Indira" initials="dGI" lastIdx="20" clrIdx="14">
    <p:extLst>
      <p:ext uri="{19B8F6BF-5375-455C-9EA6-DF929625EA0E}">
        <p15:presenceInfo xmlns:p15="http://schemas.microsoft.com/office/powerpoint/2012/main" userId="S::indegraaf@deloitte.com::9514c2ab-237d-4892-b0fb-c6f867631fa8" providerId="AD"/>
      </p:ext>
    </p:extLst>
  </p:cmAuthor>
  <p:cmAuthor id="16" name="Alexander Cuartas-Acosta" initials="ACA" lastIdx="19" clrIdx="15">
    <p:extLst>
      <p:ext uri="{19B8F6BF-5375-455C-9EA6-DF929625EA0E}">
        <p15:presenceInfo xmlns:p15="http://schemas.microsoft.com/office/powerpoint/2012/main" userId="S::alexander.cuartas-acosta@empirica.org::4039b597-454a-42c7-960e-4052abacb5a8" providerId="AD"/>
      </p:ext>
    </p:extLst>
  </p:cmAuthor>
  <p:cmAuthor id="17" name="Werner Korte" initials="WK" lastIdx="4" clrIdx="16">
    <p:extLst>
      <p:ext uri="{19B8F6BF-5375-455C-9EA6-DF929625EA0E}">
        <p15:presenceInfo xmlns:p15="http://schemas.microsoft.com/office/powerpoint/2012/main" userId="Werner Korte" providerId="None"/>
      </p:ext>
    </p:extLst>
  </p:cmAuthor>
  <p:cmAuthor id="18" name="Werner Korte" initials="WK [2]" lastIdx="2" clrIdx="17">
    <p:extLst>
      <p:ext uri="{19B8F6BF-5375-455C-9EA6-DF929625EA0E}">
        <p15:presenceInfo xmlns:p15="http://schemas.microsoft.com/office/powerpoint/2012/main" userId="S::werner.korte@empirica.org::a663aa9a-bfa2-4476-9af8-3eb366e5fea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AE370"/>
    <a:srgbClr val="86BC25"/>
    <a:srgbClr val="FF0055"/>
    <a:srgbClr val="FFFFFF"/>
    <a:srgbClr val="62B5E5"/>
    <a:srgbClr val="BFBFBF"/>
    <a:srgbClr val="012169"/>
    <a:srgbClr val="002060"/>
    <a:srgbClr val="575757"/>
    <a:srgbClr val="6969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BCB9B94-0149-423C-8319-807C10D30030}" v="4" dt="2023-01-23T14:11:57.0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6" d="100"/>
          <a:sy n="116" d="100"/>
        </p:scale>
        <p:origin x="276" y="108"/>
      </p:cViewPr>
      <p:guideLst>
        <p:guide pos="3500"/>
        <p:guide orient="horz" pos="2024"/>
        <p:guide orient="horz" pos="3203"/>
        <p:guide orient="horz" pos="2659"/>
        <p:guide orient="horz" pos="1933"/>
        <p:guide orient="horz" pos="66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fan Lilischkis" userId="fd6231df-f9cc-44eb-8a6e-b946634c5a53" providerId="ADAL" clId="{CBCB9B94-0149-423C-8319-807C10D30030}"/>
    <pc:docChg chg="undo custSel delSld modSld">
      <pc:chgData name="Stefan Lilischkis" userId="fd6231df-f9cc-44eb-8a6e-b946634c5a53" providerId="ADAL" clId="{CBCB9B94-0149-423C-8319-807C10D30030}" dt="2023-01-23T14:21:25.265" v="262" actId="1076"/>
      <pc:docMkLst>
        <pc:docMk/>
      </pc:docMkLst>
      <pc:sldChg chg="del">
        <pc:chgData name="Stefan Lilischkis" userId="fd6231df-f9cc-44eb-8a6e-b946634c5a53" providerId="ADAL" clId="{CBCB9B94-0149-423C-8319-807C10D30030}" dt="2023-01-23T14:15:01.429" v="243" actId="47"/>
        <pc:sldMkLst>
          <pc:docMk/>
          <pc:sldMk cId="769771179" sldId="797"/>
        </pc:sldMkLst>
      </pc:sldChg>
      <pc:sldChg chg="modSp mod">
        <pc:chgData name="Stefan Lilischkis" userId="fd6231df-f9cc-44eb-8a6e-b946634c5a53" providerId="ADAL" clId="{CBCB9B94-0149-423C-8319-807C10D30030}" dt="2023-01-23T14:21:25.265" v="262" actId="1076"/>
        <pc:sldMkLst>
          <pc:docMk/>
          <pc:sldMk cId="610571384" sldId="810"/>
        </pc:sldMkLst>
        <pc:spChg chg="mod">
          <ac:chgData name="Stefan Lilischkis" userId="fd6231df-f9cc-44eb-8a6e-b946634c5a53" providerId="ADAL" clId="{CBCB9B94-0149-423C-8319-807C10D30030}" dt="2023-01-23T14:21:25.265" v="262" actId="1076"/>
          <ac:spMkLst>
            <pc:docMk/>
            <pc:sldMk cId="610571384" sldId="810"/>
            <ac:spMk id="13" creationId="{00000000-0000-0000-0000-000000000000}"/>
          </ac:spMkLst>
        </pc:spChg>
        <pc:picChg chg="mod modCrop">
          <ac:chgData name="Stefan Lilischkis" userId="fd6231df-f9cc-44eb-8a6e-b946634c5a53" providerId="ADAL" clId="{CBCB9B94-0149-423C-8319-807C10D30030}" dt="2023-01-23T14:04:17.160" v="70" actId="732"/>
          <ac:picMkLst>
            <pc:docMk/>
            <pc:sldMk cId="610571384" sldId="810"/>
            <ac:picMk id="18" creationId="{759361EC-F161-495F-B834-AC3E5B951679}"/>
          </ac:picMkLst>
        </pc:picChg>
      </pc:sldChg>
      <pc:sldChg chg="modSp mod">
        <pc:chgData name="Stefan Lilischkis" userId="fd6231df-f9cc-44eb-8a6e-b946634c5a53" providerId="ADAL" clId="{CBCB9B94-0149-423C-8319-807C10D30030}" dt="2023-01-23T14:17:14.836" v="250" actId="1076"/>
        <pc:sldMkLst>
          <pc:docMk/>
          <pc:sldMk cId="3669995225" sldId="828"/>
        </pc:sldMkLst>
        <pc:spChg chg="mod">
          <ac:chgData name="Stefan Lilischkis" userId="fd6231df-f9cc-44eb-8a6e-b946634c5a53" providerId="ADAL" clId="{CBCB9B94-0149-423C-8319-807C10D30030}" dt="2023-01-23T14:17:14.836" v="250" actId="1076"/>
          <ac:spMkLst>
            <pc:docMk/>
            <pc:sldMk cId="3669995225" sldId="828"/>
            <ac:spMk id="2" creationId="{F1BF69FB-E0A2-91EF-0B48-07B6F1B30D70}"/>
          </ac:spMkLst>
        </pc:spChg>
      </pc:sldChg>
      <pc:sldChg chg="del">
        <pc:chgData name="Stefan Lilischkis" userId="fd6231df-f9cc-44eb-8a6e-b946634c5a53" providerId="ADAL" clId="{CBCB9B94-0149-423C-8319-807C10D30030}" dt="2023-01-23T14:17:27.148" v="251" actId="47"/>
        <pc:sldMkLst>
          <pc:docMk/>
          <pc:sldMk cId="134840177" sldId="829"/>
        </pc:sldMkLst>
      </pc:sldChg>
      <pc:sldChg chg="del">
        <pc:chgData name="Stefan Lilischkis" userId="fd6231df-f9cc-44eb-8a6e-b946634c5a53" providerId="ADAL" clId="{CBCB9B94-0149-423C-8319-807C10D30030}" dt="2023-01-23T14:14:53.241" v="242" actId="47"/>
        <pc:sldMkLst>
          <pc:docMk/>
          <pc:sldMk cId="3679153258" sldId="838"/>
        </pc:sldMkLst>
      </pc:sldChg>
      <pc:sldChg chg="del">
        <pc:chgData name="Stefan Lilischkis" userId="fd6231df-f9cc-44eb-8a6e-b946634c5a53" providerId="ADAL" clId="{CBCB9B94-0149-423C-8319-807C10D30030}" dt="2023-01-23T14:15:02.586" v="244" actId="47"/>
        <pc:sldMkLst>
          <pc:docMk/>
          <pc:sldMk cId="3566407658" sldId="839"/>
        </pc:sldMkLst>
      </pc:sldChg>
    </pc:docChg>
  </pc:docChgLst>
  <pc:docChgLst>
    <pc:chgData name="Stefan Lilischkis" userId="fd6231df-f9cc-44eb-8a6e-b946634c5a53" providerId="ADAL" clId="{E5BE4AA4-BC93-4014-9541-6848953770B9}"/>
    <pc:docChg chg="undo custSel addSld delSld modSld sldOrd modMainMaster delSection modSection">
      <pc:chgData name="Stefan Lilischkis" userId="fd6231df-f9cc-44eb-8a6e-b946634c5a53" providerId="ADAL" clId="{E5BE4AA4-BC93-4014-9541-6848953770B9}" dt="2022-09-08T12:08:08.826" v="3392" actId="207"/>
      <pc:docMkLst>
        <pc:docMk/>
      </pc:docMkLst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1409888439" sldId="748"/>
        </pc:sldMkLst>
      </pc:sldChg>
      <pc:sldChg chg="addSp delSp modSp del mod">
        <pc:chgData name="Stefan Lilischkis" userId="fd6231df-f9cc-44eb-8a6e-b946634c5a53" providerId="ADAL" clId="{E5BE4AA4-BC93-4014-9541-6848953770B9}" dt="2022-09-06T09:23:39.881" v="1988" actId="47"/>
        <pc:sldMkLst>
          <pc:docMk/>
          <pc:sldMk cId="873127967" sldId="754"/>
        </pc:sldMkLst>
        <pc:spChg chg="add del mod">
          <ac:chgData name="Stefan Lilischkis" userId="fd6231df-f9cc-44eb-8a6e-b946634c5a53" providerId="ADAL" clId="{E5BE4AA4-BC93-4014-9541-6848953770B9}" dt="2022-09-06T09:16:10.617" v="1851" actId="478"/>
          <ac:spMkLst>
            <pc:docMk/>
            <pc:sldMk cId="873127967" sldId="754"/>
            <ac:spMk id="4" creationId="{F4F29197-A9E6-FA82-0B12-0F5E52BA8152}"/>
          </ac:spMkLst>
        </pc:spChg>
        <pc:spChg chg="del">
          <ac:chgData name="Stefan Lilischkis" userId="fd6231df-f9cc-44eb-8a6e-b946634c5a53" providerId="ADAL" clId="{E5BE4AA4-BC93-4014-9541-6848953770B9}" dt="2022-09-06T09:16:09.081" v="1850" actId="478"/>
          <ac:spMkLst>
            <pc:docMk/>
            <pc:sldMk cId="873127967" sldId="754"/>
            <ac:spMk id="7" creationId="{68AEBFAF-3059-437F-AF73-F5AAD30E5A56}"/>
          </ac:spMkLst>
        </pc:spChg>
        <pc:spChg chg="del">
          <ac:chgData name="Stefan Lilischkis" userId="fd6231df-f9cc-44eb-8a6e-b946634c5a53" providerId="ADAL" clId="{E5BE4AA4-BC93-4014-9541-6848953770B9}" dt="2022-09-06T09:09:01.152" v="1563" actId="478"/>
          <ac:spMkLst>
            <pc:docMk/>
            <pc:sldMk cId="873127967" sldId="754"/>
            <ac:spMk id="8" creationId="{9295D33E-BE7A-4017-B743-074A7BB54959}"/>
          </ac:spMkLst>
        </pc:spChg>
        <pc:graphicFrameChg chg="add mod modGraphic">
          <ac:chgData name="Stefan Lilischkis" userId="fd6231df-f9cc-44eb-8a6e-b946634c5a53" providerId="ADAL" clId="{E5BE4AA4-BC93-4014-9541-6848953770B9}" dt="2022-09-06T09:20:31.359" v="1940" actId="20577"/>
          <ac:graphicFrameMkLst>
            <pc:docMk/>
            <pc:sldMk cId="873127967" sldId="754"/>
            <ac:graphicFrameMk id="2" creationId="{22869C21-F067-FBB3-5EB3-4A4882131C47}"/>
          </ac:graphicFrameMkLst>
        </pc:graphicFrameChg>
      </pc:sldChg>
      <pc:sldChg chg="del">
        <pc:chgData name="Stefan Lilischkis" userId="fd6231df-f9cc-44eb-8a6e-b946634c5a53" providerId="ADAL" clId="{E5BE4AA4-BC93-4014-9541-6848953770B9}" dt="2022-09-06T07:39:28.395" v="140" actId="47"/>
        <pc:sldMkLst>
          <pc:docMk/>
          <pc:sldMk cId="3555133100" sldId="768"/>
        </pc:sldMkLst>
      </pc:sldChg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1954668738" sldId="772"/>
        </pc:sldMkLst>
      </pc:sldChg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2503969812" sldId="773"/>
        </pc:sldMkLst>
      </pc:sldChg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850310690" sldId="774"/>
        </pc:sldMkLst>
      </pc:sldChg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3336573395" sldId="777"/>
        </pc:sldMkLst>
      </pc:sldChg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2707393174" sldId="779"/>
        </pc:sldMkLst>
      </pc:sldChg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1323203599" sldId="782"/>
        </pc:sldMkLst>
      </pc:sldChg>
      <pc:sldChg chg="del">
        <pc:chgData name="Stefan Lilischkis" userId="fd6231df-f9cc-44eb-8a6e-b946634c5a53" providerId="ADAL" clId="{E5BE4AA4-BC93-4014-9541-6848953770B9}" dt="2022-09-06T07:39:31.356" v="142" actId="47"/>
        <pc:sldMkLst>
          <pc:docMk/>
          <pc:sldMk cId="1272348040" sldId="783"/>
        </pc:sldMkLst>
      </pc:sldChg>
      <pc:sldChg chg="del">
        <pc:chgData name="Stefan Lilischkis" userId="fd6231df-f9cc-44eb-8a6e-b946634c5a53" providerId="ADAL" clId="{E5BE4AA4-BC93-4014-9541-6848953770B9}" dt="2022-09-06T07:39:32.583" v="143" actId="47"/>
        <pc:sldMkLst>
          <pc:docMk/>
          <pc:sldMk cId="1168708970" sldId="784"/>
        </pc:sldMkLst>
      </pc:sldChg>
      <pc:sldChg chg="del">
        <pc:chgData name="Stefan Lilischkis" userId="fd6231df-f9cc-44eb-8a6e-b946634c5a53" providerId="ADAL" clId="{E5BE4AA4-BC93-4014-9541-6848953770B9}" dt="2022-09-06T09:23:55.222" v="1989" actId="47"/>
        <pc:sldMkLst>
          <pc:docMk/>
          <pc:sldMk cId="4164059238" sldId="785"/>
        </pc:sldMkLst>
      </pc:sldChg>
      <pc:sldChg chg="del">
        <pc:chgData name="Stefan Lilischkis" userId="fd6231df-f9cc-44eb-8a6e-b946634c5a53" providerId="ADAL" clId="{E5BE4AA4-BC93-4014-9541-6848953770B9}" dt="2022-09-06T07:41:28.813" v="167" actId="47"/>
        <pc:sldMkLst>
          <pc:docMk/>
          <pc:sldMk cId="871128771" sldId="786"/>
        </pc:sldMkLst>
      </pc:sldChg>
      <pc:sldChg chg="del">
        <pc:chgData name="Stefan Lilischkis" userId="fd6231df-f9cc-44eb-8a6e-b946634c5a53" providerId="ADAL" clId="{E5BE4AA4-BC93-4014-9541-6848953770B9}" dt="2022-09-06T07:41:30.401" v="168" actId="47"/>
        <pc:sldMkLst>
          <pc:docMk/>
          <pc:sldMk cId="2523869353" sldId="787"/>
        </pc:sldMkLst>
      </pc:sldChg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566532605" sldId="788"/>
        </pc:sldMkLst>
      </pc:sldChg>
      <pc:sldChg chg="del">
        <pc:chgData name="Stefan Lilischkis" userId="fd6231df-f9cc-44eb-8a6e-b946634c5a53" providerId="ADAL" clId="{E5BE4AA4-BC93-4014-9541-6848953770B9}" dt="2022-09-06T07:39:39.567" v="150" actId="47"/>
        <pc:sldMkLst>
          <pc:docMk/>
          <pc:sldMk cId="1176431108" sldId="789"/>
        </pc:sldMkLst>
      </pc:sldChg>
      <pc:sldChg chg="addSp delSp modSp mod">
        <pc:chgData name="Stefan Lilischkis" userId="fd6231df-f9cc-44eb-8a6e-b946634c5a53" providerId="ADAL" clId="{E5BE4AA4-BC93-4014-9541-6848953770B9}" dt="2022-09-08T11:56:42.372" v="2872" actId="20577"/>
        <pc:sldMkLst>
          <pc:docMk/>
          <pc:sldMk cId="3089084354" sldId="791"/>
        </pc:sldMkLst>
        <pc:spChg chg="add mod">
          <ac:chgData name="Stefan Lilischkis" userId="fd6231df-f9cc-44eb-8a6e-b946634c5a53" providerId="ADAL" clId="{E5BE4AA4-BC93-4014-9541-6848953770B9}" dt="2022-09-07T07:38:56.299" v="2005" actId="692"/>
          <ac:spMkLst>
            <pc:docMk/>
            <pc:sldMk cId="3089084354" sldId="791"/>
            <ac:spMk id="2" creationId="{43D053DA-218C-93A9-3ADB-75796895885C}"/>
          </ac:spMkLst>
        </pc:spChg>
        <pc:spChg chg="mod">
          <ac:chgData name="Stefan Lilischkis" userId="fd6231df-f9cc-44eb-8a6e-b946634c5a53" providerId="ADAL" clId="{E5BE4AA4-BC93-4014-9541-6848953770B9}" dt="2022-09-08T11:56:42.372" v="2872" actId="20577"/>
          <ac:spMkLst>
            <pc:docMk/>
            <pc:sldMk cId="3089084354" sldId="791"/>
            <ac:spMk id="7" creationId="{D0F3D735-4D83-409B-B861-EB3A61660E83}"/>
          </ac:spMkLst>
        </pc:spChg>
        <pc:spChg chg="del">
          <ac:chgData name="Stefan Lilischkis" userId="fd6231df-f9cc-44eb-8a6e-b946634c5a53" providerId="ADAL" clId="{E5BE4AA4-BC93-4014-9541-6848953770B9}" dt="2022-09-06T08:33:54.415" v="566" actId="478"/>
          <ac:spMkLst>
            <pc:docMk/>
            <pc:sldMk cId="3089084354" sldId="791"/>
            <ac:spMk id="8" creationId="{1ED58C6B-D68F-4DC3-917F-01F6D078AD3F}"/>
          </ac:spMkLst>
        </pc:spChg>
        <pc:spChg chg="mod">
          <ac:chgData name="Stefan Lilischkis" userId="fd6231df-f9cc-44eb-8a6e-b946634c5a53" providerId="ADAL" clId="{E5BE4AA4-BC93-4014-9541-6848953770B9}" dt="2022-09-08T09:21:25.121" v="2095" actId="20577"/>
          <ac:spMkLst>
            <pc:docMk/>
            <pc:sldMk cId="3089084354" sldId="791"/>
            <ac:spMk id="10" creationId="{20C58B9F-9B2C-49BE-A273-FBED44F01297}"/>
          </ac:spMkLst>
        </pc:spChg>
        <pc:graphicFrameChg chg="add del mod">
          <ac:chgData name="Stefan Lilischkis" userId="fd6231df-f9cc-44eb-8a6e-b946634c5a53" providerId="ADAL" clId="{E5BE4AA4-BC93-4014-9541-6848953770B9}" dt="2022-09-06T08:55:49.481" v="1272" actId="478"/>
          <ac:graphicFrameMkLst>
            <pc:docMk/>
            <pc:sldMk cId="3089084354" sldId="791"/>
            <ac:graphicFrameMk id="3" creationId="{A0226B5C-10DC-45C1-92F8-FB4B69FA6ADA}"/>
          </ac:graphicFrameMkLst>
        </pc:graphicFrameChg>
        <pc:picChg chg="add del mod">
          <ac:chgData name="Stefan Lilischkis" userId="fd6231df-f9cc-44eb-8a6e-b946634c5a53" providerId="ADAL" clId="{E5BE4AA4-BC93-4014-9541-6848953770B9}" dt="2022-09-06T08:54:00.789" v="1257" actId="478"/>
          <ac:picMkLst>
            <pc:docMk/>
            <pc:sldMk cId="3089084354" sldId="791"/>
            <ac:picMk id="2" creationId="{60198D7E-A4A5-6DF5-DCCD-8D45A90D1CB7}"/>
          </ac:picMkLst>
        </pc:picChg>
        <pc:picChg chg="mod modCrop">
          <ac:chgData name="Stefan Lilischkis" userId="fd6231df-f9cc-44eb-8a6e-b946634c5a53" providerId="ADAL" clId="{E5BE4AA4-BC93-4014-9541-6848953770B9}" dt="2022-09-06T08:56:40.907" v="1276" actId="1076"/>
          <ac:picMkLst>
            <pc:docMk/>
            <pc:sldMk cId="3089084354" sldId="791"/>
            <ac:picMk id="4" creationId="{33258BA4-A5C4-0B32-7319-D4C494DB695D}"/>
          </ac:picMkLst>
        </pc:picChg>
        <pc:picChg chg="del">
          <ac:chgData name="Stefan Lilischkis" userId="fd6231df-f9cc-44eb-8a6e-b946634c5a53" providerId="ADAL" clId="{E5BE4AA4-BC93-4014-9541-6848953770B9}" dt="2022-09-06T08:33:28.481" v="562" actId="478"/>
          <ac:picMkLst>
            <pc:docMk/>
            <pc:sldMk cId="3089084354" sldId="791"/>
            <ac:picMk id="9" creationId="{784A9FA4-50C3-4FBE-A707-2FF28ED5D8B5}"/>
          </ac:picMkLst>
        </pc:picChg>
      </pc:sldChg>
      <pc:sldChg chg="delSp modSp mod">
        <pc:chgData name="Stefan Lilischkis" userId="fd6231df-f9cc-44eb-8a6e-b946634c5a53" providerId="ADAL" clId="{E5BE4AA4-BC93-4014-9541-6848953770B9}" dt="2022-09-08T12:04:14.459" v="3232" actId="20577"/>
        <pc:sldMkLst>
          <pc:docMk/>
          <pc:sldMk cId="3089046316" sldId="792"/>
        </pc:sldMkLst>
        <pc:spChg chg="mod">
          <ac:chgData name="Stefan Lilischkis" userId="fd6231df-f9cc-44eb-8a6e-b946634c5a53" providerId="ADAL" clId="{E5BE4AA4-BC93-4014-9541-6848953770B9}" dt="2022-09-08T12:04:05.920" v="3216" actId="1076"/>
          <ac:spMkLst>
            <pc:docMk/>
            <pc:sldMk cId="3089046316" sldId="792"/>
            <ac:spMk id="7" creationId="{D0F3D735-4D83-409B-B861-EB3A61660E83}"/>
          </ac:spMkLst>
        </pc:spChg>
        <pc:spChg chg="mod">
          <ac:chgData name="Stefan Lilischkis" userId="fd6231df-f9cc-44eb-8a6e-b946634c5a53" providerId="ADAL" clId="{E5BE4AA4-BC93-4014-9541-6848953770B9}" dt="2022-09-08T12:04:14.459" v="3232" actId="20577"/>
          <ac:spMkLst>
            <pc:docMk/>
            <pc:sldMk cId="3089046316" sldId="792"/>
            <ac:spMk id="9" creationId="{36D98459-C6F5-43C2-859F-B647B26AC00E}"/>
          </ac:spMkLst>
        </pc:spChg>
        <pc:spChg chg="del">
          <ac:chgData name="Stefan Lilischkis" userId="fd6231df-f9cc-44eb-8a6e-b946634c5a53" providerId="ADAL" clId="{E5BE4AA4-BC93-4014-9541-6848953770B9}" dt="2022-09-06T08:59:37.314" v="1324" actId="478"/>
          <ac:spMkLst>
            <pc:docMk/>
            <pc:sldMk cId="3089046316" sldId="792"/>
            <ac:spMk id="10" creationId="{B3BF8A18-B944-4987-A6AA-807A235F7B18}"/>
          </ac:spMkLst>
        </pc:spChg>
        <pc:picChg chg="mod">
          <ac:chgData name="Stefan Lilischkis" userId="fd6231df-f9cc-44eb-8a6e-b946634c5a53" providerId="ADAL" clId="{E5BE4AA4-BC93-4014-9541-6848953770B9}" dt="2022-09-08T09:29:00.355" v="2189" actId="14100"/>
          <ac:picMkLst>
            <pc:docMk/>
            <pc:sldMk cId="3089046316" sldId="792"/>
            <ac:picMk id="2" creationId="{3D9B560A-FC7D-9AC9-2F31-AED2E159A62A}"/>
          </ac:picMkLst>
        </pc:picChg>
        <pc:picChg chg="del">
          <ac:chgData name="Stefan Lilischkis" userId="fd6231df-f9cc-44eb-8a6e-b946634c5a53" providerId="ADAL" clId="{E5BE4AA4-BC93-4014-9541-6848953770B9}" dt="2022-09-08T09:28:48.392" v="2187" actId="478"/>
          <ac:picMkLst>
            <pc:docMk/>
            <pc:sldMk cId="3089046316" sldId="792"/>
            <ac:picMk id="5" creationId="{9D37EF24-E8A8-43E0-8599-9C3A3CB26B6B}"/>
          </ac:picMkLst>
        </pc:picChg>
      </pc:sldChg>
      <pc:sldChg chg="addSp delSp modSp mod">
        <pc:chgData name="Stefan Lilischkis" userId="fd6231df-f9cc-44eb-8a6e-b946634c5a53" providerId="ADAL" clId="{E5BE4AA4-BC93-4014-9541-6848953770B9}" dt="2022-09-08T11:57:30.925" v="2920" actId="1076"/>
        <pc:sldMkLst>
          <pc:docMk/>
          <pc:sldMk cId="2492590264" sldId="793"/>
        </pc:sldMkLst>
        <pc:spChg chg="mod">
          <ac:chgData name="Stefan Lilischkis" userId="fd6231df-f9cc-44eb-8a6e-b946634c5a53" providerId="ADAL" clId="{E5BE4AA4-BC93-4014-9541-6848953770B9}" dt="2022-09-08T11:57:25.220" v="2919" actId="207"/>
          <ac:spMkLst>
            <pc:docMk/>
            <pc:sldMk cId="2492590264" sldId="793"/>
            <ac:spMk id="7" creationId="{D0F3D735-4D83-409B-B861-EB3A61660E83}"/>
          </ac:spMkLst>
        </pc:spChg>
        <pc:spChg chg="del">
          <ac:chgData name="Stefan Lilischkis" userId="fd6231df-f9cc-44eb-8a6e-b946634c5a53" providerId="ADAL" clId="{E5BE4AA4-BC93-4014-9541-6848953770B9}" dt="2022-09-06T08:35:02.525" v="570" actId="478"/>
          <ac:spMkLst>
            <pc:docMk/>
            <pc:sldMk cId="2492590264" sldId="793"/>
            <ac:spMk id="9" creationId="{3F3A8D35-9CAE-4DC5-A431-6C896161B2A1}"/>
          </ac:spMkLst>
        </pc:spChg>
        <pc:spChg chg="mod">
          <ac:chgData name="Stefan Lilischkis" userId="fd6231df-f9cc-44eb-8a6e-b946634c5a53" providerId="ADAL" clId="{E5BE4AA4-BC93-4014-9541-6848953770B9}" dt="2022-09-08T09:21:29.198" v="2097" actId="20577"/>
          <ac:spMkLst>
            <pc:docMk/>
            <pc:sldMk cId="2492590264" sldId="793"/>
            <ac:spMk id="10" creationId="{20C58B9F-9B2C-49BE-A273-FBED44F01297}"/>
          </ac:spMkLst>
        </pc:spChg>
        <pc:graphicFrameChg chg="add mod">
          <ac:chgData name="Stefan Lilischkis" userId="fd6231df-f9cc-44eb-8a6e-b946634c5a53" providerId="ADAL" clId="{E5BE4AA4-BC93-4014-9541-6848953770B9}" dt="2022-09-06T08:55:28.021" v="1268"/>
          <ac:graphicFrameMkLst>
            <pc:docMk/>
            <pc:sldMk cId="2492590264" sldId="793"/>
            <ac:graphicFrameMk id="4" creationId="{A08D2D97-0757-4086-81FF-81551B859558}"/>
          </ac:graphicFrameMkLst>
        </pc:graphicFrameChg>
        <pc:picChg chg="add del mod">
          <ac:chgData name="Stefan Lilischkis" userId="fd6231df-f9cc-44eb-8a6e-b946634c5a53" providerId="ADAL" clId="{E5BE4AA4-BC93-4014-9541-6848953770B9}" dt="2022-09-06T08:55:01.830" v="1262" actId="478"/>
          <ac:picMkLst>
            <pc:docMk/>
            <pc:sldMk cId="2492590264" sldId="793"/>
            <ac:picMk id="2" creationId="{E0C9EF72-A596-9882-D603-27DEA7640AF2}"/>
          </ac:picMkLst>
        </pc:picChg>
        <pc:picChg chg="del">
          <ac:chgData name="Stefan Lilischkis" userId="fd6231df-f9cc-44eb-8a6e-b946634c5a53" providerId="ADAL" clId="{E5BE4AA4-BC93-4014-9541-6848953770B9}" dt="2022-09-06T08:35:10.103" v="574" actId="478"/>
          <ac:picMkLst>
            <pc:docMk/>
            <pc:sldMk cId="2492590264" sldId="793"/>
            <ac:picMk id="3" creationId="{C0729972-29FA-D216-780E-4332ECFBB8D4}"/>
          </ac:picMkLst>
        </pc:picChg>
        <pc:picChg chg="mod">
          <ac:chgData name="Stefan Lilischkis" userId="fd6231df-f9cc-44eb-8a6e-b946634c5a53" providerId="ADAL" clId="{E5BE4AA4-BC93-4014-9541-6848953770B9}" dt="2022-09-08T11:57:30.925" v="2920" actId="1076"/>
          <ac:picMkLst>
            <pc:docMk/>
            <pc:sldMk cId="2492590264" sldId="793"/>
            <ac:picMk id="5" creationId="{FE8E9048-0BAB-422E-4C66-7CE2F42DA30A}"/>
          </ac:picMkLst>
        </pc:picChg>
      </pc:sldChg>
      <pc:sldChg chg="delSp modSp mod">
        <pc:chgData name="Stefan Lilischkis" userId="fd6231df-f9cc-44eb-8a6e-b946634c5a53" providerId="ADAL" clId="{E5BE4AA4-BC93-4014-9541-6848953770B9}" dt="2022-09-08T12:05:21.581" v="3304" actId="1076"/>
        <pc:sldMkLst>
          <pc:docMk/>
          <pc:sldMk cId="1600142686" sldId="794"/>
        </pc:sldMkLst>
        <pc:spChg chg="mod">
          <ac:chgData name="Stefan Lilischkis" userId="fd6231df-f9cc-44eb-8a6e-b946634c5a53" providerId="ADAL" clId="{E5BE4AA4-BC93-4014-9541-6848953770B9}" dt="2022-09-08T12:05:15.864" v="3303" actId="207"/>
          <ac:spMkLst>
            <pc:docMk/>
            <pc:sldMk cId="1600142686" sldId="794"/>
            <ac:spMk id="7" creationId="{D0F3D735-4D83-409B-B861-EB3A61660E83}"/>
          </ac:spMkLst>
        </pc:spChg>
        <pc:spChg chg="del">
          <ac:chgData name="Stefan Lilischkis" userId="fd6231df-f9cc-44eb-8a6e-b946634c5a53" providerId="ADAL" clId="{E5BE4AA4-BC93-4014-9541-6848953770B9}" dt="2022-09-06T08:59:45.281" v="1326" actId="478"/>
          <ac:spMkLst>
            <pc:docMk/>
            <pc:sldMk cId="1600142686" sldId="794"/>
            <ac:spMk id="9" creationId="{C09056B3-A483-4A47-AF2C-F2B7439EB586}"/>
          </ac:spMkLst>
        </pc:spChg>
        <pc:spChg chg="mod">
          <ac:chgData name="Stefan Lilischkis" userId="fd6231df-f9cc-44eb-8a6e-b946634c5a53" providerId="ADAL" clId="{E5BE4AA4-BC93-4014-9541-6848953770B9}" dt="2022-09-08T12:04:20.541" v="3240" actId="20577"/>
          <ac:spMkLst>
            <pc:docMk/>
            <pc:sldMk cId="1600142686" sldId="794"/>
            <ac:spMk id="10" creationId="{1B533875-5550-41ED-ABDE-C6AFBB9DCD84}"/>
          </ac:spMkLst>
        </pc:spChg>
        <pc:picChg chg="del">
          <ac:chgData name="Stefan Lilischkis" userId="fd6231df-f9cc-44eb-8a6e-b946634c5a53" providerId="ADAL" clId="{E5BE4AA4-BC93-4014-9541-6848953770B9}" dt="2022-09-08T09:30:01.601" v="2198" actId="478"/>
          <ac:picMkLst>
            <pc:docMk/>
            <pc:sldMk cId="1600142686" sldId="794"/>
            <ac:picMk id="2" creationId="{780ACFF8-6B25-4E46-84F1-B9D1221719B5}"/>
          </ac:picMkLst>
        </pc:picChg>
        <pc:picChg chg="mod">
          <ac:chgData name="Stefan Lilischkis" userId="fd6231df-f9cc-44eb-8a6e-b946634c5a53" providerId="ADAL" clId="{E5BE4AA4-BC93-4014-9541-6848953770B9}" dt="2022-09-08T12:05:21.581" v="3304" actId="1076"/>
          <ac:picMkLst>
            <pc:docMk/>
            <pc:sldMk cId="1600142686" sldId="794"/>
            <ac:picMk id="3" creationId="{B6A7869B-4E83-1E12-1062-0D58D6B90F3B}"/>
          </ac:picMkLst>
        </pc:picChg>
      </pc:sldChg>
      <pc:sldChg chg="delSp modSp mod">
        <pc:chgData name="Stefan Lilischkis" userId="fd6231df-f9cc-44eb-8a6e-b946634c5a53" providerId="ADAL" clId="{E5BE4AA4-BC93-4014-9541-6848953770B9}" dt="2022-09-08T12:00:58.656" v="3051" actId="20577"/>
        <pc:sldMkLst>
          <pc:docMk/>
          <pc:sldMk cId="3298420301" sldId="795"/>
        </pc:sldMkLst>
        <pc:spChg chg="del">
          <ac:chgData name="Stefan Lilischkis" userId="fd6231df-f9cc-44eb-8a6e-b946634c5a53" providerId="ADAL" clId="{E5BE4AA4-BC93-4014-9541-6848953770B9}" dt="2022-09-06T08:35:54.771" v="580" actId="478"/>
          <ac:spMkLst>
            <pc:docMk/>
            <pc:sldMk cId="3298420301" sldId="795"/>
            <ac:spMk id="5" creationId="{B658E6D1-171A-4DE2-A7AC-F69E50663CAA}"/>
          </ac:spMkLst>
        </pc:spChg>
        <pc:spChg chg="mod">
          <ac:chgData name="Stefan Lilischkis" userId="fd6231df-f9cc-44eb-8a6e-b946634c5a53" providerId="ADAL" clId="{E5BE4AA4-BC93-4014-9541-6848953770B9}" dt="2022-09-08T12:00:58.656" v="3051" actId="20577"/>
          <ac:spMkLst>
            <pc:docMk/>
            <pc:sldMk cId="3298420301" sldId="795"/>
            <ac:spMk id="7" creationId="{D0F3D735-4D83-409B-B861-EB3A61660E83}"/>
          </ac:spMkLst>
        </pc:spChg>
      </pc:sldChg>
      <pc:sldChg chg="delSp modSp mod">
        <pc:chgData name="Stefan Lilischkis" userId="fd6231df-f9cc-44eb-8a6e-b946634c5a53" providerId="ADAL" clId="{E5BE4AA4-BC93-4014-9541-6848953770B9}" dt="2022-09-08T12:02:07.263" v="3090" actId="20577"/>
        <pc:sldMkLst>
          <pc:docMk/>
          <pc:sldMk cId="1436373610" sldId="796"/>
        </pc:sldMkLst>
        <pc:spChg chg="del">
          <ac:chgData name="Stefan Lilischkis" userId="fd6231df-f9cc-44eb-8a6e-b946634c5a53" providerId="ADAL" clId="{E5BE4AA4-BC93-4014-9541-6848953770B9}" dt="2022-09-06T08:36:20.637" v="597" actId="478"/>
          <ac:spMkLst>
            <pc:docMk/>
            <pc:sldMk cId="1436373610" sldId="796"/>
            <ac:spMk id="5" creationId="{8DD2FE55-145E-46C2-B4FD-7DB2891CC93E}"/>
          </ac:spMkLst>
        </pc:spChg>
        <pc:spChg chg="mod">
          <ac:chgData name="Stefan Lilischkis" userId="fd6231df-f9cc-44eb-8a6e-b946634c5a53" providerId="ADAL" clId="{E5BE4AA4-BC93-4014-9541-6848953770B9}" dt="2022-09-08T12:02:07.263" v="3090" actId="20577"/>
          <ac:spMkLst>
            <pc:docMk/>
            <pc:sldMk cId="1436373610" sldId="796"/>
            <ac:spMk id="7" creationId="{D0F3D735-4D83-409B-B861-EB3A61660E83}"/>
          </ac:spMkLst>
        </pc:spChg>
      </pc:sldChg>
      <pc:sldChg chg="delSp modSp mod">
        <pc:chgData name="Stefan Lilischkis" userId="fd6231df-f9cc-44eb-8a6e-b946634c5a53" providerId="ADAL" clId="{E5BE4AA4-BC93-4014-9541-6848953770B9}" dt="2022-09-08T12:08:08.826" v="3392" actId="207"/>
        <pc:sldMkLst>
          <pc:docMk/>
          <pc:sldMk cId="769771179" sldId="797"/>
        </pc:sldMkLst>
        <pc:spChg chg="del">
          <ac:chgData name="Stefan Lilischkis" userId="fd6231df-f9cc-44eb-8a6e-b946634c5a53" providerId="ADAL" clId="{E5BE4AA4-BC93-4014-9541-6848953770B9}" dt="2022-09-06T09:00:56.194" v="1328" actId="478"/>
          <ac:spMkLst>
            <pc:docMk/>
            <pc:sldMk cId="769771179" sldId="797"/>
            <ac:spMk id="5" creationId="{16F5AA59-89AE-483F-B0E9-CA2786DD60AD}"/>
          </ac:spMkLst>
        </pc:spChg>
        <pc:spChg chg="mod">
          <ac:chgData name="Stefan Lilischkis" userId="fd6231df-f9cc-44eb-8a6e-b946634c5a53" providerId="ADAL" clId="{E5BE4AA4-BC93-4014-9541-6848953770B9}" dt="2022-09-08T12:08:08.826" v="3392" actId="207"/>
          <ac:spMkLst>
            <pc:docMk/>
            <pc:sldMk cId="769771179" sldId="797"/>
            <ac:spMk id="7" creationId="{D0F3D735-4D83-409B-B861-EB3A61660E83}"/>
          </ac:spMkLst>
        </pc:spChg>
      </pc:sldChg>
      <pc:sldChg chg="del">
        <pc:chgData name="Stefan Lilischkis" userId="fd6231df-f9cc-44eb-8a6e-b946634c5a53" providerId="ADAL" clId="{E5BE4AA4-BC93-4014-9541-6848953770B9}" dt="2022-09-06T07:41:48.838" v="175" actId="47"/>
        <pc:sldMkLst>
          <pc:docMk/>
          <pc:sldMk cId="1437745757" sldId="798"/>
        </pc:sldMkLst>
      </pc:sldChg>
      <pc:sldChg chg="del">
        <pc:chgData name="Stefan Lilischkis" userId="fd6231df-f9cc-44eb-8a6e-b946634c5a53" providerId="ADAL" clId="{E5BE4AA4-BC93-4014-9541-6848953770B9}" dt="2022-09-06T07:41:50.686" v="176" actId="47"/>
        <pc:sldMkLst>
          <pc:docMk/>
          <pc:sldMk cId="172689246" sldId="799"/>
        </pc:sldMkLst>
      </pc:sldChg>
      <pc:sldChg chg="del">
        <pc:chgData name="Stefan Lilischkis" userId="fd6231df-f9cc-44eb-8a6e-b946634c5a53" providerId="ADAL" clId="{E5BE4AA4-BC93-4014-9541-6848953770B9}" dt="2022-09-06T07:41:51.878" v="177" actId="47"/>
        <pc:sldMkLst>
          <pc:docMk/>
          <pc:sldMk cId="547593730" sldId="800"/>
        </pc:sldMkLst>
      </pc:sldChg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901087103" sldId="803"/>
        </pc:sldMkLst>
      </pc:sldChg>
      <pc:sldChg chg="del">
        <pc:chgData name="Stefan Lilischkis" userId="fd6231df-f9cc-44eb-8a6e-b946634c5a53" providerId="ADAL" clId="{E5BE4AA4-BC93-4014-9541-6848953770B9}" dt="2022-09-06T07:41:31.179" v="169" actId="47"/>
        <pc:sldMkLst>
          <pc:docMk/>
          <pc:sldMk cId="1041515559" sldId="807"/>
        </pc:sldMkLst>
      </pc:sldChg>
      <pc:sldChg chg="modSp mod">
        <pc:chgData name="Stefan Lilischkis" userId="fd6231df-f9cc-44eb-8a6e-b946634c5a53" providerId="ADAL" clId="{E5BE4AA4-BC93-4014-9541-6848953770B9}" dt="2022-09-08T12:02:39.348" v="3098" actId="1076"/>
        <pc:sldMkLst>
          <pc:docMk/>
          <pc:sldMk cId="2146268983" sldId="809"/>
        </pc:sldMkLst>
        <pc:spChg chg="mod">
          <ac:chgData name="Stefan Lilischkis" userId="fd6231df-f9cc-44eb-8a6e-b946634c5a53" providerId="ADAL" clId="{E5BE4AA4-BC93-4014-9541-6848953770B9}" dt="2022-09-08T12:02:39.348" v="3098" actId="1076"/>
          <ac:spMkLst>
            <pc:docMk/>
            <pc:sldMk cId="2146268983" sldId="809"/>
            <ac:spMk id="7" creationId="{627C3A29-3005-4530-811F-8C529EEF474C}"/>
          </ac:spMkLst>
        </pc:spChg>
      </pc:sldChg>
      <pc:sldChg chg="modSp mod">
        <pc:chgData name="Stefan Lilischkis" userId="fd6231df-f9cc-44eb-8a6e-b946634c5a53" providerId="ADAL" clId="{E5BE4AA4-BC93-4014-9541-6848953770B9}" dt="2022-09-06T09:41:59.305" v="2001" actId="1076"/>
        <pc:sldMkLst>
          <pc:docMk/>
          <pc:sldMk cId="610571384" sldId="810"/>
        </pc:sldMkLst>
        <pc:spChg chg="mod">
          <ac:chgData name="Stefan Lilischkis" userId="fd6231df-f9cc-44eb-8a6e-b946634c5a53" providerId="ADAL" clId="{E5BE4AA4-BC93-4014-9541-6848953770B9}" dt="2022-09-06T09:41:59.305" v="2001" actId="1076"/>
          <ac:spMkLst>
            <pc:docMk/>
            <pc:sldMk cId="610571384" sldId="810"/>
            <ac:spMk id="13" creationId="{00000000-0000-0000-0000-000000000000}"/>
          </ac:spMkLst>
        </pc:spChg>
        <pc:picChg chg="mod">
          <ac:chgData name="Stefan Lilischkis" userId="fd6231df-f9cc-44eb-8a6e-b946634c5a53" providerId="ADAL" clId="{E5BE4AA4-BC93-4014-9541-6848953770B9}" dt="2022-09-06T07:34:51.695" v="118" actId="1076"/>
          <ac:picMkLst>
            <pc:docMk/>
            <pc:sldMk cId="610571384" sldId="810"/>
            <ac:picMk id="18" creationId="{759361EC-F161-495F-B834-AC3E5B951679}"/>
          </ac:picMkLst>
        </pc:picChg>
        <pc:picChg chg="mod">
          <ac:chgData name="Stefan Lilischkis" userId="fd6231df-f9cc-44eb-8a6e-b946634c5a53" providerId="ADAL" clId="{E5BE4AA4-BC93-4014-9541-6848953770B9}" dt="2022-09-06T07:38:37.513" v="139" actId="14100"/>
          <ac:picMkLst>
            <pc:docMk/>
            <pc:sldMk cId="610571384" sldId="810"/>
            <ac:picMk id="30" creationId="{9A706E4B-1E40-4E44-85ED-1CED7DAC9C35}"/>
          </ac:picMkLst>
        </pc:picChg>
        <pc:picChg chg="mod">
          <ac:chgData name="Stefan Lilischkis" userId="fd6231df-f9cc-44eb-8a6e-b946634c5a53" providerId="ADAL" clId="{E5BE4AA4-BC93-4014-9541-6848953770B9}" dt="2022-09-06T07:37:22.340" v="136" actId="1036"/>
          <ac:picMkLst>
            <pc:docMk/>
            <pc:sldMk cId="610571384" sldId="810"/>
            <ac:picMk id="31" creationId="{821664F9-76AF-491F-BE7A-AB6313A1B3C0}"/>
          </ac:picMkLst>
        </pc:picChg>
      </pc:sldChg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1886446292" sldId="811"/>
        </pc:sldMkLst>
      </pc:sldChg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2796232878" sldId="818"/>
        </pc:sldMkLst>
      </pc:sldChg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1787046426" sldId="819"/>
        </pc:sldMkLst>
      </pc:sldChg>
      <pc:sldChg chg="del">
        <pc:chgData name="Stefan Lilischkis" userId="fd6231df-f9cc-44eb-8a6e-b946634c5a53" providerId="ADAL" clId="{E5BE4AA4-BC93-4014-9541-6848953770B9}" dt="2022-09-06T07:39:30.153" v="141" actId="47"/>
        <pc:sldMkLst>
          <pc:docMk/>
          <pc:sldMk cId="421212665" sldId="820"/>
        </pc:sldMkLst>
      </pc:sldChg>
      <pc:sldChg chg="del">
        <pc:chgData name="Stefan Lilischkis" userId="fd6231df-f9cc-44eb-8a6e-b946634c5a53" providerId="ADAL" clId="{E5BE4AA4-BC93-4014-9541-6848953770B9}" dt="2022-09-06T07:39:34.106" v="144" actId="47"/>
        <pc:sldMkLst>
          <pc:docMk/>
          <pc:sldMk cId="394501692" sldId="821"/>
        </pc:sldMkLst>
      </pc:sldChg>
      <pc:sldChg chg="addSp delSp modSp mod">
        <pc:chgData name="Stefan Lilischkis" userId="fd6231df-f9cc-44eb-8a6e-b946634c5a53" providerId="ADAL" clId="{E5BE4AA4-BC93-4014-9541-6848953770B9}" dt="2022-09-06T08:31:26.800" v="508" actId="207"/>
        <pc:sldMkLst>
          <pc:docMk/>
          <pc:sldMk cId="189059446" sldId="822"/>
        </pc:sldMkLst>
        <pc:spChg chg="add del mod">
          <ac:chgData name="Stefan Lilischkis" userId="fd6231df-f9cc-44eb-8a6e-b946634c5a53" providerId="ADAL" clId="{E5BE4AA4-BC93-4014-9541-6848953770B9}" dt="2022-09-06T08:31:26.800" v="508" actId="207"/>
          <ac:spMkLst>
            <pc:docMk/>
            <pc:sldMk cId="189059446" sldId="822"/>
            <ac:spMk id="2" creationId="{42765F1C-0A82-4037-8615-653073E2EE01}"/>
          </ac:spMkLst>
        </pc:spChg>
      </pc:sldChg>
      <pc:sldChg chg="del">
        <pc:chgData name="Stefan Lilischkis" userId="fd6231df-f9cc-44eb-8a6e-b946634c5a53" providerId="ADAL" clId="{E5BE4AA4-BC93-4014-9541-6848953770B9}" dt="2022-09-06T07:41:23.077" v="166" actId="47"/>
        <pc:sldMkLst>
          <pc:docMk/>
          <pc:sldMk cId="1546998945" sldId="823"/>
        </pc:sldMkLst>
      </pc:sldChg>
      <pc:sldChg chg="del">
        <pc:chgData name="Stefan Lilischkis" userId="fd6231df-f9cc-44eb-8a6e-b946634c5a53" providerId="ADAL" clId="{E5BE4AA4-BC93-4014-9541-6848953770B9}" dt="2022-09-06T07:41:31.788" v="170" actId="47"/>
        <pc:sldMkLst>
          <pc:docMk/>
          <pc:sldMk cId="3523938636" sldId="824"/>
        </pc:sldMkLst>
      </pc:sldChg>
      <pc:sldChg chg="del">
        <pc:chgData name="Stefan Lilischkis" userId="fd6231df-f9cc-44eb-8a6e-b946634c5a53" providerId="ADAL" clId="{E5BE4AA4-BC93-4014-9541-6848953770B9}" dt="2022-09-06T07:41:41.574" v="174" actId="47"/>
        <pc:sldMkLst>
          <pc:docMk/>
          <pc:sldMk cId="1318749846" sldId="825"/>
        </pc:sldMkLst>
      </pc:sldChg>
      <pc:sldChg chg="add del">
        <pc:chgData name="Stefan Lilischkis" userId="fd6231df-f9cc-44eb-8a6e-b946634c5a53" providerId="ADAL" clId="{E5BE4AA4-BC93-4014-9541-6848953770B9}" dt="2022-09-06T08:50:00.428" v="1177" actId="47"/>
        <pc:sldMkLst>
          <pc:docMk/>
          <pc:sldMk cId="1612556015" sldId="826"/>
        </pc:sldMkLst>
      </pc:sldChg>
      <pc:sldChg chg="add del">
        <pc:chgData name="Stefan Lilischkis" userId="fd6231df-f9cc-44eb-8a6e-b946634c5a53" providerId="ADAL" clId="{E5BE4AA4-BC93-4014-9541-6848953770B9}" dt="2022-09-06T08:49:47.862" v="1174" actId="47"/>
        <pc:sldMkLst>
          <pc:docMk/>
          <pc:sldMk cId="1079379375" sldId="827"/>
        </pc:sldMkLst>
      </pc:sldChg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3198127989" sldId="828"/>
        </pc:sldMkLst>
      </pc:sldChg>
      <pc:sldChg chg="addSp modSp new mod">
        <pc:chgData name="Stefan Lilischkis" userId="fd6231df-f9cc-44eb-8a6e-b946634c5a53" providerId="ADAL" clId="{E5BE4AA4-BC93-4014-9541-6848953770B9}" dt="2022-09-06T08:24:43.056" v="359" actId="255"/>
        <pc:sldMkLst>
          <pc:docMk/>
          <pc:sldMk cId="3669995225" sldId="828"/>
        </pc:sldMkLst>
        <pc:spChg chg="add mod">
          <ac:chgData name="Stefan Lilischkis" userId="fd6231df-f9cc-44eb-8a6e-b946634c5a53" providerId="ADAL" clId="{E5BE4AA4-BC93-4014-9541-6848953770B9}" dt="2022-09-06T08:24:43.056" v="359" actId="255"/>
          <ac:spMkLst>
            <pc:docMk/>
            <pc:sldMk cId="3669995225" sldId="828"/>
            <ac:spMk id="2" creationId="{F1BF69FB-E0A2-91EF-0B48-07B6F1B30D70}"/>
          </ac:spMkLst>
        </pc:spChg>
      </pc:sldChg>
      <pc:sldChg chg="modSp add mod">
        <pc:chgData name="Stefan Lilischkis" userId="fd6231df-f9cc-44eb-8a6e-b946634c5a53" providerId="ADAL" clId="{E5BE4AA4-BC93-4014-9541-6848953770B9}" dt="2022-09-06T08:26:49.577" v="420" actId="6549"/>
        <pc:sldMkLst>
          <pc:docMk/>
          <pc:sldMk cId="134840177" sldId="829"/>
        </pc:sldMkLst>
        <pc:spChg chg="mod">
          <ac:chgData name="Stefan Lilischkis" userId="fd6231df-f9cc-44eb-8a6e-b946634c5a53" providerId="ADAL" clId="{E5BE4AA4-BC93-4014-9541-6848953770B9}" dt="2022-09-06T08:26:49.577" v="420" actId="6549"/>
          <ac:spMkLst>
            <pc:docMk/>
            <pc:sldMk cId="134840177" sldId="829"/>
            <ac:spMk id="2" creationId="{F1BF69FB-E0A2-91EF-0B48-07B6F1B30D70}"/>
          </ac:spMkLst>
        </pc:spChg>
      </pc:sldChg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754186308" sldId="829"/>
        </pc:sldMkLst>
      </pc:sldChg>
      <pc:sldChg chg="modSp add mod">
        <pc:chgData name="Stefan Lilischkis" userId="fd6231df-f9cc-44eb-8a6e-b946634c5a53" providerId="ADAL" clId="{E5BE4AA4-BC93-4014-9541-6848953770B9}" dt="2022-09-07T07:40:18.945" v="2031" actId="207"/>
        <pc:sldMkLst>
          <pc:docMk/>
          <pc:sldMk cId="3099798167" sldId="830"/>
        </pc:sldMkLst>
        <pc:spChg chg="mod">
          <ac:chgData name="Stefan Lilischkis" userId="fd6231df-f9cc-44eb-8a6e-b946634c5a53" providerId="ADAL" clId="{E5BE4AA4-BC93-4014-9541-6848953770B9}" dt="2022-09-07T07:40:18.945" v="2031" actId="207"/>
          <ac:spMkLst>
            <pc:docMk/>
            <pc:sldMk cId="3099798167" sldId="830"/>
            <ac:spMk id="2" creationId="{42765F1C-0A82-4037-8615-653073E2EE01}"/>
          </ac:spMkLst>
        </pc:spChg>
      </pc:sldChg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4227728295" sldId="830"/>
        </pc:sldMkLst>
      </pc:sldChg>
      <pc:sldChg chg="modSp add mod">
        <pc:chgData name="Stefan Lilischkis" userId="fd6231df-f9cc-44eb-8a6e-b946634c5a53" providerId="ADAL" clId="{E5BE4AA4-BC93-4014-9541-6848953770B9}" dt="2022-09-08T09:27:49.844" v="2186" actId="1076"/>
        <pc:sldMkLst>
          <pc:docMk/>
          <pc:sldMk cId="2263254860" sldId="831"/>
        </pc:sldMkLst>
        <pc:spChg chg="mod">
          <ac:chgData name="Stefan Lilischkis" userId="fd6231df-f9cc-44eb-8a6e-b946634c5a53" providerId="ADAL" clId="{E5BE4AA4-BC93-4014-9541-6848953770B9}" dt="2022-09-08T09:27:49.844" v="2186" actId="1076"/>
          <ac:spMkLst>
            <pc:docMk/>
            <pc:sldMk cId="2263254860" sldId="831"/>
            <ac:spMk id="2" creationId="{42765F1C-0A82-4037-8615-653073E2EE01}"/>
          </ac:spMkLst>
        </pc:spChg>
      </pc:sldChg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3677774163" sldId="831"/>
        </pc:sldMkLst>
      </pc:sldChg>
      <pc:sldChg chg="modSp add del mod">
        <pc:chgData name="Stefan Lilischkis" userId="fd6231df-f9cc-44eb-8a6e-b946634c5a53" providerId="ADAL" clId="{E5BE4AA4-BC93-4014-9541-6848953770B9}" dt="2022-09-06T09:25:49.044" v="1991" actId="47"/>
        <pc:sldMkLst>
          <pc:docMk/>
          <pc:sldMk cId="479268329" sldId="832"/>
        </pc:sldMkLst>
        <pc:spChg chg="mod">
          <ac:chgData name="Stefan Lilischkis" userId="fd6231df-f9cc-44eb-8a6e-b946634c5a53" providerId="ADAL" clId="{E5BE4AA4-BC93-4014-9541-6848953770B9}" dt="2022-09-06T08:58:30.027" v="1323" actId="1076"/>
          <ac:spMkLst>
            <pc:docMk/>
            <pc:sldMk cId="479268329" sldId="832"/>
            <ac:spMk id="2" creationId="{42765F1C-0A82-4037-8615-653073E2EE01}"/>
          </ac:spMkLst>
        </pc:spChg>
      </pc:sldChg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1208774955" sldId="832"/>
        </pc:sldMkLst>
      </pc:sldChg>
      <pc:sldChg chg="del">
        <pc:chgData name="Stefan Lilischkis" userId="fd6231df-f9cc-44eb-8a6e-b946634c5a53" providerId="ADAL" clId="{E5BE4AA4-BC93-4014-9541-6848953770B9}" dt="2022-09-06T07:33:59.005" v="83" actId="47"/>
        <pc:sldMkLst>
          <pc:docMk/>
          <pc:sldMk cId="1605869225" sldId="833"/>
        </pc:sldMkLst>
      </pc:sldChg>
      <pc:sldChg chg="modSp add mod ord">
        <pc:chgData name="Stefan Lilischkis" userId="fd6231df-f9cc-44eb-8a6e-b946634c5a53" providerId="ADAL" clId="{E5BE4AA4-BC93-4014-9541-6848953770B9}" dt="2022-09-08T09:58:16.707" v="2741" actId="20577"/>
        <pc:sldMkLst>
          <pc:docMk/>
          <pc:sldMk cId="1762705217" sldId="833"/>
        </pc:sldMkLst>
        <pc:spChg chg="mod">
          <ac:chgData name="Stefan Lilischkis" userId="fd6231df-f9cc-44eb-8a6e-b946634c5a53" providerId="ADAL" clId="{E5BE4AA4-BC93-4014-9541-6848953770B9}" dt="2022-09-08T09:58:16.707" v="2741" actId="20577"/>
          <ac:spMkLst>
            <pc:docMk/>
            <pc:sldMk cId="1762705217" sldId="833"/>
            <ac:spMk id="2" creationId="{42765F1C-0A82-4037-8615-653073E2EE01}"/>
          </ac:spMkLst>
        </pc:spChg>
      </pc:sldChg>
      <pc:sldChg chg="del">
        <pc:chgData name="Stefan Lilischkis" userId="fd6231df-f9cc-44eb-8a6e-b946634c5a53" providerId="ADAL" clId="{E5BE4AA4-BC93-4014-9541-6848953770B9}" dt="2022-09-06T07:39:35.657" v="145" actId="47"/>
        <pc:sldMkLst>
          <pc:docMk/>
          <pc:sldMk cId="1773971280" sldId="834"/>
        </pc:sldMkLst>
      </pc:sldChg>
      <pc:sldChg chg="delSp modSp add mod ord">
        <pc:chgData name="Stefan Lilischkis" userId="fd6231df-f9cc-44eb-8a6e-b946634c5a53" providerId="ADAL" clId="{E5BE4AA4-BC93-4014-9541-6848953770B9}" dt="2022-09-08T09:57:58.211" v="2733" actId="1076"/>
        <pc:sldMkLst>
          <pc:docMk/>
          <pc:sldMk cId="2034500990" sldId="834"/>
        </pc:sldMkLst>
        <pc:spChg chg="del">
          <ac:chgData name="Stefan Lilischkis" userId="fd6231df-f9cc-44eb-8a6e-b946634c5a53" providerId="ADAL" clId="{E5BE4AA4-BC93-4014-9541-6848953770B9}" dt="2022-09-06T08:41:02.480" v="812" actId="478"/>
          <ac:spMkLst>
            <pc:docMk/>
            <pc:sldMk cId="2034500990" sldId="834"/>
            <ac:spMk id="5" creationId="{16F5AA59-89AE-483F-B0E9-CA2786DD60AD}"/>
          </ac:spMkLst>
        </pc:spChg>
        <pc:spChg chg="mod">
          <ac:chgData name="Stefan Lilischkis" userId="fd6231df-f9cc-44eb-8a6e-b946634c5a53" providerId="ADAL" clId="{E5BE4AA4-BC93-4014-9541-6848953770B9}" dt="2022-09-08T09:57:58.211" v="2733" actId="1076"/>
          <ac:spMkLst>
            <pc:docMk/>
            <pc:sldMk cId="2034500990" sldId="834"/>
            <ac:spMk id="7" creationId="{D0F3D735-4D83-409B-B861-EB3A61660E83}"/>
          </ac:spMkLst>
        </pc:spChg>
      </pc:sldChg>
      <pc:sldChg chg="del">
        <pc:chgData name="Stefan Lilischkis" userId="fd6231df-f9cc-44eb-8a6e-b946634c5a53" providerId="ADAL" clId="{E5BE4AA4-BC93-4014-9541-6848953770B9}" dt="2022-09-06T07:39:37.053" v="146" actId="47"/>
        <pc:sldMkLst>
          <pc:docMk/>
          <pc:sldMk cId="269371822" sldId="835"/>
        </pc:sldMkLst>
      </pc:sldChg>
      <pc:sldChg chg="modSp add mod ord">
        <pc:chgData name="Stefan Lilischkis" userId="fd6231df-f9cc-44eb-8a6e-b946634c5a53" providerId="ADAL" clId="{E5BE4AA4-BC93-4014-9541-6848953770B9}" dt="2022-09-08T09:47:13.934" v="2702" actId="1076"/>
        <pc:sldMkLst>
          <pc:docMk/>
          <pc:sldMk cId="3149031164" sldId="835"/>
        </pc:sldMkLst>
        <pc:spChg chg="mod">
          <ac:chgData name="Stefan Lilischkis" userId="fd6231df-f9cc-44eb-8a6e-b946634c5a53" providerId="ADAL" clId="{E5BE4AA4-BC93-4014-9541-6848953770B9}" dt="2022-09-08T09:47:13.934" v="2702" actId="1076"/>
          <ac:spMkLst>
            <pc:docMk/>
            <pc:sldMk cId="3149031164" sldId="835"/>
            <ac:spMk id="2" creationId="{42765F1C-0A82-4037-8615-653073E2EE01}"/>
          </ac:spMkLst>
        </pc:spChg>
      </pc:sldChg>
      <pc:sldChg chg="del">
        <pc:chgData name="Stefan Lilischkis" userId="fd6231df-f9cc-44eb-8a6e-b946634c5a53" providerId="ADAL" clId="{E5BE4AA4-BC93-4014-9541-6848953770B9}" dt="2022-09-06T07:39:37.634" v="147" actId="47"/>
        <pc:sldMkLst>
          <pc:docMk/>
          <pc:sldMk cId="1692772620" sldId="836"/>
        </pc:sldMkLst>
      </pc:sldChg>
      <pc:sldChg chg="addSp delSp modSp add mod">
        <pc:chgData name="Stefan Lilischkis" userId="fd6231df-f9cc-44eb-8a6e-b946634c5a53" providerId="ADAL" clId="{E5BE4AA4-BC93-4014-9541-6848953770B9}" dt="2022-09-08T11:59:31.169" v="2975" actId="1076"/>
        <pc:sldMkLst>
          <pc:docMk/>
          <pc:sldMk cId="2229715156" sldId="836"/>
        </pc:sldMkLst>
        <pc:spChg chg="add mod">
          <ac:chgData name="Stefan Lilischkis" userId="fd6231df-f9cc-44eb-8a6e-b946634c5a53" providerId="ADAL" clId="{E5BE4AA4-BC93-4014-9541-6848953770B9}" dt="2022-09-08T11:59:31.169" v="2975" actId="1076"/>
          <ac:spMkLst>
            <pc:docMk/>
            <pc:sldMk cId="2229715156" sldId="836"/>
            <ac:spMk id="3" creationId="{AFB1E263-F121-F2AF-DCE1-716F98A49FCB}"/>
          </ac:spMkLst>
        </pc:spChg>
        <pc:spChg chg="mod">
          <ac:chgData name="Stefan Lilischkis" userId="fd6231df-f9cc-44eb-8a6e-b946634c5a53" providerId="ADAL" clId="{E5BE4AA4-BC93-4014-9541-6848953770B9}" dt="2022-09-08T11:59:27.183" v="2974" actId="20577"/>
          <ac:spMkLst>
            <pc:docMk/>
            <pc:sldMk cId="2229715156" sldId="836"/>
            <ac:spMk id="7" creationId="{D0F3D735-4D83-409B-B861-EB3A61660E83}"/>
          </ac:spMkLst>
        </pc:spChg>
        <pc:spChg chg="mod">
          <ac:chgData name="Stefan Lilischkis" userId="fd6231df-f9cc-44eb-8a6e-b946634c5a53" providerId="ADAL" clId="{E5BE4AA4-BC93-4014-9541-6848953770B9}" dt="2022-09-08T09:21:32.737" v="2099" actId="20577"/>
          <ac:spMkLst>
            <pc:docMk/>
            <pc:sldMk cId="2229715156" sldId="836"/>
            <ac:spMk id="10" creationId="{20C58B9F-9B2C-49BE-A273-FBED44F01297}"/>
          </ac:spMkLst>
        </pc:spChg>
        <pc:picChg chg="mod">
          <ac:chgData name="Stefan Lilischkis" userId="fd6231df-f9cc-44eb-8a6e-b946634c5a53" providerId="ADAL" clId="{E5BE4AA4-BC93-4014-9541-6848953770B9}" dt="2022-09-08T11:59:13.695" v="2963" actId="1076"/>
          <ac:picMkLst>
            <pc:docMk/>
            <pc:sldMk cId="2229715156" sldId="836"/>
            <ac:picMk id="2" creationId="{2E1560C1-4BE7-9DC3-42F5-1D16B9D0A8CB}"/>
          </ac:picMkLst>
        </pc:picChg>
        <pc:picChg chg="del">
          <ac:chgData name="Stefan Lilischkis" userId="fd6231df-f9cc-44eb-8a6e-b946634c5a53" providerId="ADAL" clId="{E5BE4AA4-BC93-4014-9541-6848953770B9}" dt="2022-09-06T08:57:36.969" v="1278" actId="478"/>
          <ac:picMkLst>
            <pc:docMk/>
            <pc:sldMk cId="2229715156" sldId="836"/>
            <ac:picMk id="5" creationId="{FE8E9048-0BAB-422E-4C66-7CE2F42DA30A}"/>
          </ac:picMkLst>
        </pc:picChg>
      </pc:sldChg>
      <pc:sldChg chg="del">
        <pc:chgData name="Stefan Lilischkis" userId="fd6231df-f9cc-44eb-8a6e-b946634c5a53" providerId="ADAL" clId="{E5BE4AA4-BC93-4014-9541-6848953770B9}" dt="2022-09-06T07:39:38.150" v="148" actId="47"/>
        <pc:sldMkLst>
          <pc:docMk/>
          <pc:sldMk cId="828302748" sldId="837"/>
        </pc:sldMkLst>
      </pc:sldChg>
      <pc:sldChg chg="addSp delSp modSp add mod">
        <pc:chgData name="Stefan Lilischkis" userId="fd6231df-f9cc-44eb-8a6e-b946634c5a53" providerId="ADAL" clId="{E5BE4AA4-BC93-4014-9541-6848953770B9}" dt="2022-09-08T09:46:07.455" v="2700" actId="1076"/>
        <pc:sldMkLst>
          <pc:docMk/>
          <pc:sldMk cId="3996306718" sldId="837"/>
        </pc:sldMkLst>
        <pc:spChg chg="add mod">
          <ac:chgData name="Stefan Lilischkis" userId="fd6231df-f9cc-44eb-8a6e-b946634c5a53" providerId="ADAL" clId="{E5BE4AA4-BC93-4014-9541-6848953770B9}" dt="2022-09-06T09:23:25.312" v="1987" actId="1076"/>
          <ac:spMkLst>
            <pc:docMk/>
            <pc:sldMk cId="3996306718" sldId="837"/>
            <ac:spMk id="4" creationId="{2CA999ED-7EF5-2DCE-B440-62FCF3173903}"/>
          </ac:spMkLst>
        </pc:spChg>
        <pc:graphicFrameChg chg="del">
          <ac:chgData name="Stefan Lilischkis" userId="fd6231df-f9cc-44eb-8a6e-b946634c5a53" providerId="ADAL" clId="{E5BE4AA4-BC93-4014-9541-6848953770B9}" dt="2022-09-06T09:20:48.454" v="1942" actId="478"/>
          <ac:graphicFrameMkLst>
            <pc:docMk/>
            <pc:sldMk cId="3996306718" sldId="837"/>
            <ac:graphicFrameMk id="2" creationId="{22869C21-F067-FBB3-5EB3-4A4882131C47}"/>
          </ac:graphicFrameMkLst>
        </pc:graphicFrameChg>
        <pc:picChg chg="add mod">
          <ac:chgData name="Stefan Lilischkis" userId="fd6231df-f9cc-44eb-8a6e-b946634c5a53" providerId="ADAL" clId="{E5BE4AA4-BC93-4014-9541-6848953770B9}" dt="2022-09-08T09:45:06.662" v="2692" actId="1076"/>
          <ac:picMkLst>
            <pc:docMk/>
            <pc:sldMk cId="3996306718" sldId="837"/>
            <ac:picMk id="2" creationId="{204E5A8C-F024-1132-55CE-E3CB8C032BAA}"/>
          </ac:picMkLst>
        </pc:picChg>
        <pc:picChg chg="add mod">
          <ac:chgData name="Stefan Lilischkis" userId="fd6231df-f9cc-44eb-8a6e-b946634c5a53" providerId="ADAL" clId="{E5BE4AA4-BC93-4014-9541-6848953770B9}" dt="2022-09-08T09:45:19.591" v="2694" actId="1076"/>
          <ac:picMkLst>
            <pc:docMk/>
            <pc:sldMk cId="3996306718" sldId="837"/>
            <ac:picMk id="3" creationId="{A2206F5B-F138-AC7E-A580-99A27334F066}"/>
          </ac:picMkLst>
        </pc:picChg>
        <pc:picChg chg="add mod">
          <ac:chgData name="Stefan Lilischkis" userId="fd6231df-f9cc-44eb-8a6e-b946634c5a53" providerId="ADAL" clId="{E5BE4AA4-BC93-4014-9541-6848953770B9}" dt="2022-09-08T09:45:33.707" v="2696" actId="1076"/>
          <ac:picMkLst>
            <pc:docMk/>
            <pc:sldMk cId="3996306718" sldId="837"/>
            <ac:picMk id="6" creationId="{34969612-28FD-3D32-085C-AB4918659A5B}"/>
          </ac:picMkLst>
        </pc:picChg>
        <pc:picChg chg="add mod">
          <ac:chgData name="Stefan Lilischkis" userId="fd6231df-f9cc-44eb-8a6e-b946634c5a53" providerId="ADAL" clId="{E5BE4AA4-BC93-4014-9541-6848953770B9}" dt="2022-09-08T09:45:52.378" v="2698" actId="1076"/>
          <ac:picMkLst>
            <pc:docMk/>
            <pc:sldMk cId="3996306718" sldId="837"/>
            <ac:picMk id="7" creationId="{57F56861-84FC-776D-EC59-71D3035A639E}"/>
          </ac:picMkLst>
        </pc:picChg>
        <pc:picChg chg="add mod">
          <ac:chgData name="Stefan Lilischkis" userId="fd6231df-f9cc-44eb-8a6e-b946634c5a53" providerId="ADAL" clId="{E5BE4AA4-BC93-4014-9541-6848953770B9}" dt="2022-09-08T09:46:07.455" v="2700" actId="1076"/>
          <ac:picMkLst>
            <pc:docMk/>
            <pc:sldMk cId="3996306718" sldId="837"/>
            <ac:picMk id="8" creationId="{7BB52866-B7B5-5379-FD69-4643270EC392}"/>
          </ac:picMkLst>
        </pc:picChg>
      </pc:sldChg>
      <pc:sldChg chg="del">
        <pc:chgData name="Stefan Lilischkis" userId="fd6231df-f9cc-44eb-8a6e-b946634c5a53" providerId="ADAL" clId="{E5BE4AA4-BC93-4014-9541-6848953770B9}" dt="2022-09-06T07:39:38.801" v="149" actId="47"/>
        <pc:sldMkLst>
          <pc:docMk/>
          <pc:sldMk cId="845827663" sldId="838"/>
        </pc:sldMkLst>
      </pc:sldChg>
      <pc:sldChg chg="del">
        <pc:chgData name="Stefan Lilischkis" userId="fd6231df-f9cc-44eb-8a6e-b946634c5a53" providerId="ADAL" clId="{E5BE4AA4-BC93-4014-9541-6848953770B9}" dt="2022-09-06T07:41:32.035" v="171" actId="47"/>
        <pc:sldMkLst>
          <pc:docMk/>
          <pc:sldMk cId="1253366622" sldId="839"/>
        </pc:sldMkLst>
      </pc:sldChg>
      <pc:sldChg chg="del">
        <pc:chgData name="Stefan Lilischkis" userId="fd6231df-f9cc-44eb-8a6e-b946634c5a53" providerId="ADAL" clId="{E5BE4AA4-BC93-4014-9541-6848953770B9}" dt="2022-09-06T07:41:38.308" v="172" actId="47"/>
        <pc:sldMkLst>
          <pc:docMk/>
          <pc:sldMk cId="580513163" sldId="840"/>
        </pc:sldMkLst>
      </pc:sldChg>
      <pc:sldChg chg="del">
        <pc:chgData name="Stefan Lilischkis" userId="fd6231df-f9cc-44eb-8a6e-b946634c5a53" providerId="ADAL" clId="{E5BE4AA4-BC93-4014-9541-6848953770B9}" dt="2022-09-06T07:41:40.818" v="173" actId="47"/>
        <pc:sldMkLst>
          <pc:docMk/>
          <pc:sldMk cId="3570439838" sldId="841"/>
        </pc:sldMkLst>
      </pc:sldChg>
      <pc:sldMasterChg chg="modSp mod">
        <pc:chgData name="Stefan Lilischkis" userId="fd6231df-f9cc-44eb-8a6e-b946634c5a53" providerId="ADAL" clId="{E5BE4AA4-BC93-4014-9541-6848953770B9}" dt="2022-09-06T07:44:16.519" v="199" actId="20577"/>
        <pc:sldMasterMkLst>
          <pc:docMk/>
          <pc:sldMasterMk cId="10288808" sldId="2147483649"/>
        </pc:sldMasterMkLst>
        <pc:spChg chg="mod">
          <ac:chgData name="Stefan Lilischkis" userId="fd6231df-f9cc-44eb-8a6e-b946634c5a53" providerId="ADAL" clId="{E5BE4AA4-BC93-4014-9541-6848953770B9}" dt="2022-09-06T07:44:16.519" v="199" actId="20577"/>
          <ac:spMkLst>
            <pc:docMk/>
            <pc:sldMasterMk cId="10288808" sldId="2147483649"/>
            <ac:spMk id="10" creationId="{00000000-0000-0000-0000-000000000000}"/>
          </ac:spMkLst>
        </pc:spChg>
        <pc:spChg chg="mod">
          <ac:chgData name="Stefan Lilischkis" userId="fd6231df-f9cc-44eb-8a6e-b946634c5a53" providerId="ADAL" clId="{E5BE4AA4-BC93-4014-9541-6848953770B9}" dt="2022-09-06T07:43:11.442" v="185" actId="20577"/>
          <ac:spMkLst>
            <pc:docMk/>
            <pc:sldMasterMk cId="10288808" sldId="2147483649"/>
            <ac:spMk id="11" creationId="{00000000-0000-0000-0000-000000000000}"/>
          </ac:spMkLst>
        </pc:spChg>
      </pc:sldMasterChg>
    </pc:docChg>
  </pc:docChgLst>
  <pc:docChgLst>
    <pc:chgData name="Stefan Lilischkis" userId="fd6231df-f9cc-44eb-8a6e-b946634c5a53" providerId="ADAL" clId="{90DAB060-1B9A-4DD2-B96F-474D7AB7FCD8}"/>
    <pc:docChg chg="undo custSel addSld modSld sldOrd">
      <pc:chgData name="Stefan Lilischkis" userId="fd6231df-f9cc-44eb-8a6e-b946634c5a53" providerId="ADAL" clId="{90DAB060-1B9A-4DD2-B96F-474D7AB7FCD8}" dt="2022-09-13T15:22:54.787" v="859" actId="20577"/>
      <pc:docMkLst>
        <pc:docMk/>
      </pc:docMkLst>
      <pc:sldChg chg="ord">
        <pc:chgData name="Stefan Lilischkis" userId="fd6231df-f9cc-44eb-8a6e-b946634c5a53" providerId="ADAL" clId="{90DAB060-1B9A-4DD2-B96F-474D7AB7FCD8}" dt="2022-09-13T15:21:38.493" v="788"/>
        <pc:sldMkLst>
          <pc:docMk/>
          <pc:sldMk cId="769771179" sldId="797"/>
        </pc:sldMkLst>
      </pc:sldChg>
      <pc:sldChg chg="modSp mod">
        <pc:chgData name="Stefan Lilischkis" userId="fd6231df-f9cc-44eb-8a6e-b946634c5a53" providerId="ADAL" clId="{90DAB060-1B9A-4DD2-B96F-474D7AB7FCD8}" dt="2022-09-13T15:22:54.787" v="859" actId="20577"/>
        <pc:sldMkLst>
          <pc:docMk/>
          <pc:sldMk cId="3669995225" sldId="828"/>
        </pc:sldMkLst>
        <pc:spChg chg="mod">
          <ac:chgData name="Stefan Lilischkis" userId="fd6231df-f9cc-44eb-8a6e-b946634c5a53" providerId="ADAL" clId="{90DAB060-1B9A-4DD2-B96F-474D7AB7FCD8}" dt="2022-09-13T15:22:54.787" v="859" actId="20577"/>
          <ac:spMkLst>
            <pc:docMk/>
            <pc:sldMk cId="3669995225" sldId="828"/>
            <ac:spMk id="2" creationId="{F1BF69FB-E0A2-91EF-0B48-07B6F1B30D70}"/>
          </ac:spMkLst>
        </pc:spChg>
      </pc:sldChg>
      <pc:sldChg chg="modSp add mod">
        <pc:chgData name="Stefan Lilischkis" userId="fd6231df-f9cc-44eb-8a6e-b946634c5a53" providerId="ADAL" clId="{90DAB060-1B9A-4DD2-B96F-474D7AB7FCD8}" dt="2022-09-13T14:49:45.613" v="776" actId="113"/>
        <pc:sldMkLst>
          <pc:docMk/>
          <pc:sldMk cId="3679153258" sldId="838"/>
        </pc:sldMkLst>
        <pc:spChg chg="mod">
          <ac:chgData name="Stefan Lilischkis" userId="fd6231df-f9cc-44eb-8a6e-b946634c5a53" providerId="ADAL" clId="{90DAB060-1B9A-4DD2-B96F-474D7AB7FCD8}" dt="2022-09-13T14:49:45.613" v="776" actId="113"/>
          <ac:spMkLst>
            <pc:docMk/>
            <pc:sldMk cId="3679153258" sldId="838"/>
            <ac:spMk id="7" creationId="{D0F3D735-4D83-409B-B861-EB3A61660E83}"/>
          </ac:spMkLst>
        </pc:spChg>
      </pc:sldChg>
      <pc:sldChg chg="modSp add mod">
        <pc:chgData name="Stefan Lilischkis" userId="fd6231df-f9cc-44eb-8a6e-b946634c5a53" providerId="ADAL" clId="{90DAB060-1B9A-4DD2-B96F-474D7AB7FCD8}" dt="2022-09-13T15:20:21.815" v="786" actId="20577"/>
        <pc:sldMkLst>
          <pc:docMk/>
          <pc:sldMk cId="3566407658" sldId="839"/>
        </pc:sldMkLst>
        <pc:spChg chg="mod">
          <ac:chgData name="Stefan Lilischkis" userId="fd6231df-f9cc-44eb-8a6e-b946634c5a53" providerId="ADAL" clId="{90DAB060-1B9A-4DD2-B96F-474D7AB7FCD8}" dt="2022-09-13T15:20:21.815" v="786" actId="20577"/>
          <ac:spMkLst>
            <pc:docMk/>
            <pc:sldMk cId="3566407658" sldId="839"/>
            <ac:spMk id="2" creationId="{42765F1C-0A82-4037-8615-653073E2EE01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971C608-6DD4-4112-BFD1-56A6B1C599B3}" type="doc">
      <dgm:prSet loTypeId="urn:microsoft.com/office/officeart/2005/8/layout/gear1" loCatId="relationship" qsTypeId="urn:microsoft.com/office/officeart/2005/8/quickstyle/simple1" qsCatId="simple" csTypeId="urn:microsoft.com/office/officeart/2005/8/colors/accent1_2" csCatId="accent1" phldr="1"/>
      <dgm:spPr>
        <a:scene3d>
          <a:camera prst="orthographicFront">
            <a:rot lat="0" lon="0" rev="10800000"/>
          </a:camera>
          <a:lightRig rig="threePt" dir="t"/>
        </a:scene3d>
      </dgm:spPr>
    </dgm:pt>
    <dgm:pt modelId="{7229B324-1DDB-4CB0-A5C4-4D48146EB567}">
      <dgm:prSet phldrT="[Text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de-DE" sz="2400" b="1"/>
            <a:t>Curricula</a:t>
          </a:r>
        </a:p>
      </dgm:t>
    </dgm:pt>
    <dgm:pt modelId="{BA05BAD2-1704-4CB4-A23F-CCEDA6AB479F}" type="parTrans" cxnId="{2494EA75-BD51-445C-95C4-67A75A4C8930}">
      <dgm:prSet/>
      <dgm:spPr/>
      <dgm:t>
        <a:bodyPr/>
        <a:lstStyle/>
        <a:p>
          <a:endParaRPr lang="de-DE"/>
        </a:p>
      </dgm:t>
    </dgm:pt>
    <dgm:pt modelId="{3F13ADE5-7E77-4A63-B830-0A95E472436D}" type="sibTrans" cxnId="{2494EA75-BD51-445C-95C4-67A75A4C8930}">
      <dgm:prSet/>
      <dgm:spPr/>
      <dgm:t>
        <a:bodyPr/>
        <a:lstStyle/>
        <a:p>
          <a:endParaRPr lang="de-DE"/>
        </a:p>
      </dgm:t>
    </dgm:pt>
    <dgm:pt modelId="{8FFC6D1E-1B49-4D6C-A755-4A30D7DBC266}">
      <dgm:prSet phldrT="[Text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GB" noProof="0"/>
            <a:t>Extra-curricular activities</a:t>
          </a:r>
        </a:p>
      </dgm:t>
    </dgm:pt>
    <dgm:pt modelId="{B353F5E8-72FB-4B09-AF1B-8142B04F0173}" type="parTrans" cxnId="{9D923DC2-13FA-48B9-A1A1-91FF5B1EFEDE}">
      <dgm:prSet/>
      <dgm:spPr/>
      <dgm:t>
        <a:bodyPr/>
        <a:lstStyle/>
        <a:p>
          <a:endParaRPr lang="de-DE"/>
        </a:p>
      </dgm:t>
    </dgm:pt>
    <dgm:pt modelId="{EA438FBC-BA08-46D0-8D67-BD46F32699C0}" type="sibTrans" cxnId="{9D923DC2-13FA-48B9-A1A1-91FF5B1EFEDE}">
      <dgm:prSet/>
      <dgm:spPr/>
      <dgm:t>
        <a:bodyPr/>
        <a:lstStyle/>
        <a:p>
          <a:endParaRPr lang="de-DE"/>
        </a:p>
      </dgm:t>
    </dgm:pt>
    <dgm:pt modelId="{AF47C5F1-F5B1-41B8-BDC2-EAEA3445D864}">
      <dgm:prSet phldrT="[Text]"/>
      <dgm:spPr/>
      <dgm:t>
        <a:bodyPr/>
        <a:lstStyle/>
        <a:p>
          <a:r>
            <a:rPr lang="en-GB" noProof="0"/>
            <a:t>Other means</a:t>
          </a:r>
        </a:p>
      </dgm:t>
    </dgm:pt>
    <dgm:pt modelId="{FEC4CA68-3A53-4428-B368-ECA5FC33DC4C}" type="parTrans" cxnId="{29339FAC-30E3-4EDF-B14D-98E010DD9FC0}">
      <dgm:prSet/>
      <dgm:spPr/>
      <dgm:t>
        <a:bodyPr/>
        <a:lstStyle/>
        <a:p>
          <a:endParaRPr lang="de-DE"/>
        </a:p>
      </dgm:t>
    </dgm:pt>
    <dgm:pt modelId="{93A5B41A-BE3E-401D-9AF1-7047003445A5}" type="sibTrans" cxnId="{29339FAC-30E3-4EDF-B14D-98E010DD9FC0}">
      <dgm:prSet/>
      <dgm:spPr/>
      <dgm:t>
        <a:bodyPr/>
        <a:lstStyle/>
        <a:p>
          <a:endParaRPr lang="de-DE"/>
        </a:p>
      </dgm:t>
    </dgm:pt>
    <dgm:pt modelId="{780CB79C-FCE3-4362-948B-A16C0217CA4E}" type="pres">
      <dgm:prSet presAssocID="{F971C608-6DD4-4112-BFD1-56A6B1C599B3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35F6FE70-1E47-45F6-8884-27954C4DFC2E}" type="pres">
      <dgm:prSet presAssocID="{7229B324-1DDB-4CB0-A5C4-4D48146EB567}" presName="gear1" presStyleLbl="node1" presStyleIdx="0" presStyleCnt="3" custAng="10800000" custLinFactNeighborX="628" custLinFactNeighborY="8424">
        <dgm:presLayoutVars>
          <dgm:chMax val="1"/>
          <dgm:bulletEnabled val="1"/>
        </dgm:presLayoutVars>
      </dgm:prSet>
      <dgm:spPr/>
    </dgm:pt>
    <dgm:pt modelId="{C4B2545D-AC46-4206-805D-D668C40777E0}" type="pres">
      <dgm:prSet presAssocID="{7229B324-1DDB-4CB0-A5C4-4D48146EB567}" presName="gear1srcNode" presStyleLbl="node1" presStyleIdx="0" presStyleCnt="3"/>
      <dgm:spPr/>
    </dgm:pt>
    <dgm:pt modelId="{4B87647C-4457-4208-B8F7-D1ED5C57EF0D}" type="pres">
      <dgm:prSet presAssocID="{7229B324-1DDB-4CB0-A5C4-4D48146EB567}" presName="gear1dstNode" presStyleLbl="node1" presStyleIdx="0" presStyleCnt="3"/>
      <dgm:spPr/>
    </dgm:pt>
    <dgm:pt modelId="{B82CCC0D-2B43-4061-B6F5-B1AF033A3FD1}" type="pres">
      <dgm:prSet presAssocID="{8FFC6D1E-1B49-4D6C-A755-4A30D7DBC266}" presName="gear2" presStyleLbl="node1" presStyleIdx="1" presStyleCnt="3" custAng="12000000" custLinFactNeighborX="-1023">
        <dgm:presLayoutVars>
          <dgm:chMax val="1"/>
          <dgm:bulletEnabled val="1"/>
        </dgm:presLayoutVars>
      </dgm:prSet>
      <dgm:spPr/>
    </dgm:pt>
    <dgm:pt modelId="{EF54E4BB-674A-487D-BA98-98E38D13142C}" type="pres">
      <dgm:prSet presAssocID="{8FFC6D1E-1B49-4D6C-A755-4A30D7DBC266}" presName="gear2srcNode" presStyleLbl="node1" presStyleIdx="1" presStyleCnt="3"/>
      <dgm:spPr/>
    </dgm:pt>
    <dgm:pt modelId="{B1E041B6-99FA-479D-9799-0235A523582F}" type="pres">
      <dgm:prSet presAssocID="{8FFC6D1E-1B49-4D6C-A755-4A30D7DBC266}" presName="gear2dstNode" presStyleLbl="node1" presStyleIdx="1" presStyleCnt="3"/>
      <dgm:spPr/>
    </dgm:pt>
    <dgm:pt modelId="{ADEA6659-CA3F-4A88-AE36-11321D64D73E}" type="pres">
      <dgm:prSet presAssocID="{AF47C5F1-F5B1-41B8-BDC2-EAEA3445D864}" presName="gear3" presStyleLbl="node1" presStyleIdx="2" presStyleCnt="3" custAng="9900000" custLinFactNeighborY="91"/>
      <dgm:spPr/>
    </dgm:pt>
    <dgm:pt modelId="{66862A4B-9414-473D-91C2-85FF22DD0F66}" type="pres">
      <dgm:prSet presAssocID="{AF47C5F1-F5B1-41B8-BDC2-EAEA3445D864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EFBAB90B-1681-4BC2-9450-E616EB335946}" type="pres">
      <dgm:prSet presAssocID="{AF47C5F1-F5B1-41B8-BDC2-EAEA3445D864}" presName="gear3srcNode" presStyleLbl="node1" presStyleIdx="2" presStyleCnt="3"/>
      <dgm:spPr/>
    </dgm:pt>
    <dgm:pt modelId="{43FF6FD0-9D29-404F-B542-796D621334B2}" type="pres">
      <dgm:prSet presAssocID="{AF47C5F1-F5B1-41B8-BDC2-EAEA3445D864}" presName="gear3dstNode" presStyleLbl="node1" presStyleIdx="2" presStyleCnt="3"/>
      <dgm:spPr/>
    </dgm:pt>
    <dgm:pt modelId="{BCAAB12B-426C-4E18-8781-F4D97B1A5FD6}" type="pres">
      <dgm:prSet presAssocID="{3F13ADE5-7E77-4A63-B830-0A95E472436D}" presName="connector1" presStyleLbl="sibTrans2D1" presStyleIdx="0" presStyleCnt="3"/>
      <dgm:spPr/>
    </dgm:pt>
    <dgm:pt modelId="{7C1122A2-DC25-416F-97CF-9E8A6692CEF8}" type="pres">
      <dgm:prSet presAssocID="{EA438FBC-BA08-46D0-8D67-BD46F32699C0}" presName="connector2" presStyleLbl="sibTrans2D1" presStyleIdx="1" presStyleCnt="3"/>
      <dgm:spPr/>
    </dgm:pt>
    <dgm:pt modelId="{27E5A7D3-771A-466F-AC66-1C152E1EDCEC}" type="pres">
      <dgm:prSet presAssocID="{93A5B41A-BE3E-401D-9AF1-7047003445A5}" presName="connector3" presStyleLbl="sibTrans2D1" presStyleIdx="2" presStyleCnt="3"/>
      <dgm:spPr/>
    </dgm:pt>
  </dgm:ptLst>
  <dgm:cxnLst>
    <dgm:cxn modelId="{FD32A50E-093F-4855-8C59-656B671CAA8C}" type="presOf" srcId="{AF47C5F1-F5B1-41B8-BDC2-EAEA3445D864}" destId="{ADEA6659-CA3F-4A88-AE36-11321D64D73E}" srcOrd="0" destOrd="0" presId="urn:microsoft.com/office/officeart/2005/8/layout/gear1"/>
    <dgm:cxn modelId="{9CF2BD14-09CF-45AD-A683-7F0776747164}" type="presOf" srcId="{F971C608-6DD4-4112-BFD1-56A6B1C599B3}" destId="{780CB79C-FCE3-4362-948B-A16C0217CA4E}" srcOrd="0" destOrd="0" presId="urn:microsoft.com/office/officeart/2005/8/layout/gear1"/>
    <dgm:cxn modelId="{F1AEBC3F-CBD0-46B5-A50B-5BD42E10649D}" type="presOf" srcId="{AF47C5F1-F5B1-41B8-BDC2-EAEA3445D864}" destId="{EFBAB90B-1681-4BC2-9450-E616EB335946}" srcOrd="2" destOrd="0" presId="urn:microsoft.com/office/officeart/2005/8/layout/gear1"/>
    <dgm:cxn modelId="{8BB22F61-CE68-494E-8471-B2BFB706390F}" type="presOf" srcId="{3F13ADE5-7E77-4A63-B830-0A95E472436D}" destId="{BCAAB12B-426C-4E18-8781-F4D97B1A5FD6}" srcOrd="0" destOrd="0" presId="urn:microsoft.com/office/officeart/2005/8/layout/gear1"/>
    <dgm:cxn modelId="{AE1C8344-EF45-4D3F-ADDE-5DE447238651}" type="presOf" srcId="{AF47C5F1-F5B1-41B8-BDC2-EAEA3445D864}" destId="{66862A4B-9414-473D-91C2-85FF22DD0F66}" srcOrd="1" destOrd="0" presId="urn:microsoft.com/office/officeart/2005/8/layout/gear1"/>
    <dgm:cxn modelId="{5C713546-D070-4CCB-8694-17C14221BF87}" type="presOf" srcId="{AF47C5F1-F5B1-41B8-BDC2-EAEA3445D864}" destId="{43FF6FD0-9D29-404F-B542-796D621334B2}" srcOrd="3" destOrd="0" presId="urn:microsoft.com/office/officeart/2005/8/layout/gear1"/>
    <dgm:cxn modelId="{E9F06948-D60B-43C6-BBD9-D0A31AA1A68E}" type="presOf" srcId="{7229B324-1DDB-4CB0-A5C4-4D48146EB567}" destId="{4B87647C-4457-4208-B8F7-D1ED5C57EF0D}" srcOrd="2" destOrd="0" presId="urn:microsoft.com/office/officeart/2005/8/layout/gear1"/>
    <dgm:cxn modelId="{27EF3B6F-0619-4C8E-8A2F-9AB6A11E8BFC}" type="presOf" srcId="{93A5B41A-BE3E-401D-9AF1-7047003445A5}" destId="{27E5A7D3-771A-466F-AC66-1C152E1EDCEC}" srcOrd="0" destOrd="0" presId="urn:microsoft.com/office/officeart/2005/8/layout/gear1"/>
    <dgm:cxn modelId="{2474C16F-91BF-4471-BB4F-AE0E2F597645}" type="presOf" srcId="{7229B324-1DDB-4CB0-A5C4-4D48146EB567}" destId="{C4B2545D-AC46-4206-805D-D668C40777E0}" srcOrd="1" destOrd="0" presId="urn:microsoft.com/office/officeart/2005/8/layout/gear1"/>
    <dgm:cxn modelId="{2494EA75-BD51-445C-95C4-67A75A4C8930}" srcId="{F971C608-6DD4-4112-BFD1-56A6B1C599B3}" destId="{7229B324-1DDB-4CB0-A5C4-4D48146EB567}" srcOrd="0" destOrd="0" parTransId="{BA05BAD2-1704-4CB4-A23F-CCEDA6AB479F}" sibTransId="{3F13ADE5-7E77-4A63-B830-0A95E472436D}"/>
    <dgm:cxn modelId="{233D577F-686F-49E1-91AA-0E7845EACC9E}" type="presOf" srcId="{8FFC6D1E-1B49-4D6C-A755-4A30D7DBC266}" destId="{EF54E4BB-674A-487D-BA98-98E38D13142C}" srcOrd="1" destOrd="0" presId="urn:microsoft.com/office/officeart/2005/8/layout/gear1"/>
    <dgm:cxn modelId="{D38F3493-EF56-47FD-AED0-9B3E10FF3D7C}" type="presOf" srcId="{7229B324-1DDB-4CB0-A5C4-4D48146EB567}" destId="{35F6FE70-1E47-45F6-8884-27954C4DFC2E}" srcOrd="0" destOrd="0" presId="urn:microsoft.com/office/officeart/2005/8/layout/gear1"/>
    <dgm:cxn modelId="{29339FAC-30E3-4EDF-B14D-98E010DD9FC0}" srcId="{F971C608-6DD4-4112-BFD1-56A6B1C599B3}" destId="{AF47C5F1-F5B1-41B8-BDC2-EAEA3445D864}" srcOrd="2" destOrd="0" parTransId="{FEC4CA68-3A53-4428-B368-ECA5FC33DC4C}" sibTransId="{93A5B41A-BE3E-401D-9AF1-7047003445A5}"/>
    <dgm:cxn modelId="{A97803C2-85B6-409D-97EE-464E69A7B92D}" type="presOf" srcId="{8FFC6D1E-1B49-4D6C-A755-4A30D7DBC266}" destId="{B82CCC0D-2B43-4061-B6F5-B1AF033A3FD1}" srcOrd="0" destOrd="0" presId="urn:microsoft.com/office/officeart/2005/8/layout/gear1"/>
    <dgm:cxn modelId="{9D923DC2-13FA-48B9-A1A1-91FF5B1EFEDE}" srcId="{F971C608-6DD4-4112-BFD1-56A6B1C599B3}" destId="{8FFC6D1E-1B49-4D6C-A755-4A30D7DBC266}" srcOrd="1" destOrd="0" parTransId="{B353F5E8-72FB-4B09-AF1B-8142B04F0173}" sibTransId="{EA438FBC-BA08-46D0-8D67-BD46F32699C0}"/>
    <dgm:cxn modelId="{83993AEE-D88C-4CBD-ABF3-A0AF6F9BC91B}" type="presOf" srcId="{EA438FBC-BA08-46D0-8D67-BD46F32699C0}" destId="{7C1122A2-DC25-416F-97CF-9E8A6692CEF8}" srcOrd="0" destOrd="0" presId="urn:microsoft.com/office/officeart/2005/8/layout/gear1"/>
    <dgm:cxn modelId="{A6686CFE-FF6D-4178-B728-68A949967D10}" type="presOf" srcId="{8FFC6D1E-1B49-4D6C-A755-4A30D7DBC266}" destId="{B1E041B6-99FA-479D-9799-0235A523582F}" srcOrd="2" destOrd="0" presId="urn:microsoft.com/office/officeart/2005/8/layout/gear1"/>
    <dgm:cxn modelId="{F34BA99A-5342-4CFB-8BE0-651F55CBBE8F}" type="presParOf" srcId="{780CB79C-FCE3-4362-948B-A16C0217CA4E}" destId="{35F6FE70-1E47-45F6-8884-27954C4DFC2E}" srcOrd="0" destOrd="0" presId="urn:microsoft.com/office/officeart/2005/8/layout/gear1"/>
    <dgm:cxn modelId="{303E221D-7A82-4E9B-9C20-59276CAEE34B}" type="presParOf" srcId="{780CB79C-FCE3-4362-948B-A16C0217CA4E}" destId="{C4B2545D-AC46-4206-805D-D668C40777E0}" srcOrd="1" destOrd="0" presId="urn:microsoft.com/office/officeart/2005/8/layout/gear1"/>
    <dgm:cxn modelId="{B5F007A7-F0B4-4E3B-86AE-A91FC0DF1A31}" type="presParOf" srcId="{780CB79C-FCE3-4362-948B-A16C0217CA4E}" destId="{4B87647C-4457-4208-B8F7-D1ED5C57EF0D}" srcOrd="2" destOrd="0" presId="urn:microsoft.com/office/officeart/2005/8/layout/gear1"/>
    <dgm:cxn modelId="{DB67AB2A-2058-4D75-92F9-8615830EA518}" type="presParOf" srcId="{780CB79C-FCE3-4362-948B-A16C0217CA4E}" destId="{B82CCC0D-2B43-4061-B6F5-B1AF033A3FD1}" srcOrd="3" destOrd="0" presId="urn:microsoft.com/office/officeart/2005/8/layout/gear1"/>
    <dgm:cxn modelId="{FDABCE54-3AB1-4EF6-8BC4-7919555F99BD}" type="presParOf" srcId="{780CB79C-FCE3-4362-948B-A16C0217CA4E}" destId="{EF54E4BB-674A-487D-BA98-98E38D13142C}" srcOrd="4" destOrd="0" presId="urn:microsoft.com/office/officeart/2005/8/layout/gear1"/>
    <dgm:cxn modelId="{C829CAF8-CB66-4C8E-881E-3F20DB9921AD}" type="presParOf" srcId="{780CB79C-FCE3-4362-948B-A16C0217CA4E}" destId="{B1E041B6-99FA-479D-9799-0235A523582F}" srcOrd="5" destOrd="0" presId="urn:microsoft.com/office/officeart/2005/8/layout/gear1"/>
    <dgm:cxn modelId="{C2A66182-28D8-40B4-9D64-A74B0952A3E0}" type="presParOf" srcId="{780CB79C-FCE3-4362-948B-A16C0217CA4E}" destId="{ADEA6659-CA3F-4A88-AE36-11321D64D73E}" srcOrd="6" destOrd="0" presId="urn:microsoft.com/office/officeart/2005/8/layout/gear1"/>
    <dgm:cxn modelId="{357DC2FE-5EFB-4FA8-8E5D-E4494ED2213F}" type="presParOf" srcId="{780CB79C-FCE3-4362-948B-A16C0217CA4E}" destId="{66862A4B-9414-473D-91C2-85FF22DD0F66}" srcOrd="7" destOrd="0" presId="urn:microsoft.com/office/officeart/2005/8/layout/gear1"/>
    <dgm:cxn modelId="{5A8013F3-08CD-48F8-954C-EFEDD78DD5F2}" type="presParOf" srcId="{780CB79C-FCE3-4362-948B-A16C0217CA4E}" destId="{EFBAB90B-1681-4BC2-9450-E616EB335946}" srcOrd="8" destOrd="0" presId="urn:microsoft.com/office/officeart/2005/8/layout/gear1"/>
    <dgm:cxn modelId="{37B6C87C-DE73-48FD-A4A9-DA61DA6DAD8A}" type="presParOf" srcId="{780CB79C-FCE3-4362-948B-A16C0217CA4E}" destId="{43FF6FD0-9D29-404F-B542-796D621334B2}" srcOrd="9" destOrd="0" presId="urn:microsoft.com/office/officeart/2005/8/layout/gear1"/>
    <dgm:cxn modelId="{3AD18589-B571-4E3F-97D2-7026A032D3EC}" type="presParOf" srcId="{780CB79C-FCE3-4362-948B-A16C0217CA4E}" destId="{BCAAB12B-426C-4E18-8781-F4D97B1A5FD6}" srcOrd="10" destOrd="0" presId="urn:microsoft.com/office/officeart/2005/8/layout/gear1"/>
    <dgm:cxn modelId="{F29BBBB9-1806-4DF5-83CB-30540ADFA279}" type="presParOf" srcId="{780CB79C-FCE3-4362-948B-A16C0217CA4E}" destId="{7C1122A2-DC25-416F-97CF-9E8A6692CEF8}" srcOrd="11" destOrd="0" presId="urn:microsoft.com/office/officeart/2005/8/layout/gear1"/>
    <dgm:cxn modelId="{44466B58-1FFB-4D8A-8DD9-1AD6F9F67C3B}" type="presParOf" srcId="{780CB79C-FCE3-4362-948B-A16C0217CA4E}" destId="{27E5A7D3-771A-466F-AC66-1C152E1EDCEC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F6FE70-1E47-45F6-8884-27954C4DFC2E}">
      <dsp:nvSpPr>
        <dsp:cNvPr id="0" name=""/>
        <dsp:cNvSpPr/>
      </dsp:nvSpPr>
      <dsp:spPr>
        <a:xfrm rot="10800000">
          <a:off x="3820902" y="2456420"/>
          <a:ext cx="3002291" cy="3002291"/>
        </a:xfrm>
        <a:prstGeom prst="gear9">
          <a:avLst/>
        </a:prstGeom>
        <a:solidFill>
          <a:schemeClr val="accent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10800000"/>
          </a:camera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2400" b="1" kern="1200"/>
            <a:t>Curricula</a:t>
          </a:r>
        </a:p>
      </dsp:txBody>
      <dsp:txXfrm>
        <a:off x="4424496" y="3212199"/>
        <a:ext cx="1795103" cy="1543240"/>
      </dsp:txXfrm>
    </dsp:sp>
    <dsp:sp modelId="{B82CCC0D-2B43-4061-B6F5-B1AF033A3FD1}">
      <dsp:nvSpPr>
        <dsp:cNvPr id="0" name=""/>
        <dsp:cNvSpPr/>
      </dsp:nvSpPr>
      <dsp:spPr>
        <a:xfrm rot="12000000">
          <a:off x="2032923" y="1746787"/>
          <a:ext cx="2183484" cy="2183484"/>
        </a:xfrm>
        <a:prstGeom prst="gear6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10800000"/>
          </a:camera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noProof="0"/>
            <a:t>Extra-curricular activities</a:t>
          </a:r>
        </a:p>
      </dsp:txBody>
      <dsp:txXfrm>
        <a:off x="2582622" y="2299808"/>
        <a:ext cx="1084086" cy="1077442"/>
      </dsp:txXfrm>
    </dsp:sp>
    <dsp:sp modelId="{ADEA6659-CA3F-4A88-AE36-11321D64D73E}">
      <dsp:nvSpPr>
        <dsp:cNvPr id="0" name=""/>
        <dsp:cNvSpPr/>
      </dsp:nvSpPr>
      <dsp:spPr>
        <a:xfrm rot="9000000">
          <a:off x="3278234" y="242790"/>
          <a:ext cx="2139369" cy="2139369"/>
        </a:xfrm>
        <a:prstGeom prst="gear6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10800000"/>
          </a:camera>
          <a:lightRig rig="threePt" dir="t"/>
        </a:scene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noProof="0"/>
            <a:t>Other means</a:t>
          </a:r>
        </a:p>
      </dsp:txBody>
      <dsp:txXfrm rot="900000">
        <a:off x="3747459" y="712016"/>
        <a:ext cx="1200916" cy="1200916"/>
      </dsp:txXfrm>
    </dsp:sp>
    <dsp:sp modelId="{BCAAB12B-426C-4E18-8781-F4D97B1A5FD6}">
      <dsp:nvSpPr>
        <dsp:cNvPr id="0" name=""/>
        <dsp:cNvSpPr/>
      </dsp:nvSpPr>
      <dsp:spPr>
        <a:xfrm>
          <a:off x="3585320" y="1995300"/>
          <a:ext cx="3842933" cy="3842933"/>
        </a:xfrm>
        <a:prstGeom prst="circularArrow">
          <a:avLst>
            <a:gd name="adj1" fmla="val 4687"/>
            <a:gd name="adj2" fmla="val 299029"/>
            <a:gd name="adj3" fmla="val 2539892"/>
            <a:gd name="adj4" fmla="val 15811080"/>
            <a:gd name="adj5" fmla="val 5469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10800000"/>
          </a:camera>
          <a:lightRig rig="threePt" dir="t"/>
        </a:scene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1122A2-DC25-416F-97CF-9E8A6692CEF8}">
      <dsp:nvSpPr>
        <dsp:cNvPr id="0" name=""/>
        <dsp:cNvSpPr/>
      </dsp:nvSpPr>
      <dsp:spPr>
        <a:xfrm>
          <a:off x="1668569" y="1258238"/>
          <a:ext cx="2792131" cy="279213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10800000"/>
          </a:camera>
          <a:lightRig rig="threePt" dir="t"/>
        </a:scene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E5A7D3-771A-466F-AC66-1C152E1EDCEC}">
      <dsp:nvSpPr>
        <dsp:cNvPr id="0" name=""/>
        <dsp:cNvSpPr/>
      </dsp:nvSpPr>
      <dsp:spPr>
        <a:xfrm>
          <a:off x="2783376" y="-233622"/>
          <a:ext cx="3010479" cy="301047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10800000"/>
          </a:camera>
          <a:lightRig rig="threePt" dir="t"/>
        </a:scene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4486" cy="494762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495" y="2"/>
            <a:ext cx="2944486" cy="494762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/23/2023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09703"/>
            <a:ext cx="2944486" cy="494762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495" y="9409703"/>
            <a:ext cx="2944486" cy="494762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Nr.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4283" cy="49530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6" y="1"/>
            <a:ext cx="2944283" cy="49530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/2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2950"/>
            <a:ext cx="6600825" cy="3713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05351"/>
            <a:ext cx="5435600" cy="445770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2"/>
            <a:ext cx="2944283" cy="49530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6" y="9408982"/>
            <a:ext cx="2944283" cy="49530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2330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/>
              <a:t>empirica</a:t>
            </a:r>
            <a:endParaRPr lang="en-US"/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7439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/>
              <a:t>empirica</a:t>
            </a:r>
            <a:endParaRPr lang="en-US"/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8206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mpirica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84261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err="1"/>
              <a:t>empirica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3168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mpirica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9617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/>
              <a:t>empirica</a:t>
            </a:r>
            <a:endParaRPr lang="en-US"/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401653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mpirica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1934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mpirica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28681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mpirica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0958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/>
              <a:t>empirica</a:t>
            </a:r>
            <a:endParaRPr lang="en-US"/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4679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/>
              <a:t>empirica</a:t>
            </a:r>
            <a:endParaRPr lang="en-US"/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2273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/>
              <a:t>empirica</a:t>
            </a:r>
            <a:endParaRPr lang="en-US"/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8953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/>
              <a:t>empirica</a:t>
            </a:r>
            <a:endParaRPr lang="en-US"/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6077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err="1"/>
              <a:t>empirica</a:t>
            </a:r>
            <a:endParaRPr lang="en-US"/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648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empirica</a:t>
            </a:r>
          </a:p>
          <a:p>
            <a:endParaRPr lang="en-GB"/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002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59768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40931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>
                <a:solidFill>
                  <a:schemeClr val="accent5"/>
                </a:solidFill>
              </a:rPr>
              <a:t>[To edit, click View &gt; Slide Master &gt; Slide Master] &gt; </a:t>
            </a:r>
            <a:r>
              <a:rPr lang="pt-PT" sz="600" b="1">
                <a:solidFill>
                  <a:schemeClr val="accent5"/>
                </a:solidFill>
              </a:rPr>
              <a:t>ERASE</a:t>
            </a:r>
            <a:r>
              <a:rPr lang="pt-PT" sz="600" b="1" baseline="0">
                <a:solidFill>
                  <a:schemeClr val="accent5"/>
                </a:solidFill>
              </a:rPr>
              <a:t> THIS CAPTION IN THE END</a:t>
            </a:r>
            <a:endParaRPr lang="en-US" sz="600" b="1">
              <a:solidFill>
                <a:schemeClr val="accent5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>
                <a:solidFill>
                  <a:prstClr val="black"/>
                </a:solidFill>
              </a:rPr>
            </a:br>
            <a:r>
              <a:rPr lang="pt-PT" sz="600" b="1">
                <a:solidFill>
                  <a:schemeClr val="accent5"/>
                </a:solidFill>
              </a:rPr>
              <a:t>[To </a:t>
            </a:r>
            <a:r>
              <a:rPr lang="pt-PT" sz="600" b="1" err="1">
                <a:solidFill>
                  <a:schemeClr val="accent5"/>
                </a:solidFill>
              </a:rPr>
              <a:t>edit</a:t>
            </a:r>
            <a:r>
              <a:rPr lang="pt-PT" sz="600" b="1">
                <a:solidFill>
                  <a:schemeClr val="accent5"/>
                </a:solidFill>
              </a:rPr>
              <a:t>, </a:t>
            </a:r>
            <a:r>
              <a:rPr lang="pt-PT" sz="600" b="1" err="1">
                <a:solidFill>
                  <a:schemeClr val="accent5"/>
                </a:solidFill>
              </a:rPr>
              <a:t>click</a:t>
            </a:r>
            <a:r>
              <a:rPr lang="pt-PT" sz="600" b="1">
                <a:solidFill>
                  <a:schemeClr val="accent5"/>
                </a:solidFill>
              </a:rPr>
              <a:t> </a:t>
            </a:r>
            <a:r>
              <a:rPr lang="pt-PT" sz="600" b="1" err="1">
                <a:solidFill>
                  <a:schemeClr val="accent5"/>
                </a:solidFill>
              </a:rPr>
              <a:t>View</a:t>
            </a:r>
            <a:r>
              <a:rPr lang="pt-PT" sz="600" b="1">
                <a:solidFill>
                  <a:schemeClr val="accent5"/>
                </a:solidFill>
              </a:rPr>
              <a:t> &gt; Slide Master &gt; Slide Master] &gt; ERASE</a:t>
            </a:r>
            <a:r>
              <a:rPr lang="pt-PT" sz="600" b="1" baseline="0">
                <a:solidFill>
                  <a:schemeClr val="accent5"/>
                </a:solidFill>
              </a:rPr>
              <a:t> THIS CAPTION IN THE END</a:t>
            </a:r>
            <a:endParaRPr lang="pt-PT" sz="600" b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250907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>
                <a:solidFill>
                  <a:schemeClr val="accent5"/>
                </a:solidFill>
              </a:rPr>
              <a:t>[To edit, click View &gt; Slide Master &gt; Slide Master] &gt; </a:t>
            </a:r>
            <a:r>
              <a:rPr lang="pt-PT" sz="600" b="1">
                <a:solidFill>
                  <a:schemeClr val="accent5"/>
                </a:solidFill>
              </a:rPr>
              <a:t>ERASE</a:t>
            </a:r>
            <a:r>
              <a:rPr lang="pt-PT" sz="600" b="1" baseline="0">
                <a:solidFill>
                  <a:schemeClr val="accent5"/>
                </a:solidFill>
              </a:rPr>
              <a:t> THIS CAPTION IN THE END</a:t>
            </a:r>
            <a:endParaRPr lang="en-US" sz="600" b="1">
              <a:solidFill>
                <a:schemeClr val="accent5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>
                <a:solidFill>
                  <a:prstClr val="black"/>
                </a:solidFill>
              </a:rPr>
            </a:br>
            <a:r>
              <a:rPr lang="pt-PT" sz="600" b="1">
                <a:solidFill>
                  <a:schemeClr val="accent5"/>
                </a:solidFill>
              </a:rPr>
              <a:t>[To </a:t>
            </a:r>
            <a:r>
              <a:rPr lang="pt-PT" sz="600" b="1" err="1">
                <a:solidFill>
                  <a:schemeClr val="accent5"/>
                </a:solidFill>
              </a:rPr>
              <a:t>edit</a:t>
            </a:r>
            <a:r>
              <a:rPr lang="pt-PT" sz="600" b="1">
                <a:solidFill>
                  <a:schemeClr val="accent5"/>
                </a:solidFill>
              </a:rPr>
              <a:t>, </a:t>
            </a:r>
            <a:r>
              <a:rPr lang="pt-PT" sz="600" b="1" err="1">
                <a:solidFill>
                  <a:schemeClr val="accent5"/>
                </a:solidFill>
              </a:rPr>
              <a:t>click</a:t>
            </a:r>
            <a:r>
              <a:rPr lang="pt-PT" sz="600" b="1">
                <a:solidFill>
                  <a:schemeClr val="accent5"/>
                </a:solidFill>
              </a:rPr>
              <a:t> </a:t>
            </a:r>
            <a:r>
              <a:rPr lang="pt-PT" sz="600" b="1" err="1">
                <a:solidFill>
                  <a:schemeClr val="accent5"/>
                </a:solidFill>
              </a:rPr>
              <a:t>View</a:t>
            </a:r>
            <a:r>
              <a:rPr lang="pt-PT" sz="600" b="1">
                <a:solidFill>
                  <a:schemeClr val="accent5"/>
                </a:solidFill>
              </a:rPr>
              <a:t> &gt; Slide Master &gt; Slide Master] &gt; ERASE</a:t>
            </a:r>
            <a:r>
              <a:rPr lang="pt-PT" sz="600" b="1" baseline="0">
                <a:solidFill>
                  <a:schemeClr val="accent5"/>
                </a:solidFill>
              </a:rPr>
              <a:t> THIS CAPTION IN THE END</a:t>
            </a:r>
            <a:endParaRPr lang="pt-PT" sz="600" b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83977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>
                <a:solidFill>
                  <a:schemeClr val="bg1"/>
                </a:solidFill>
              </a:rPr>
              <a:t>[To edit, click View &gt; Slide Master &gt; Slide Master] &gt; </a:t>
            </a:r>
            <a:r>
              <a:rPr lang="pt-PT" sz="600" b="1">
                <a:solidFill>
                  <a:schemeClr val="bg1"/>
                </a:solidFill>
              </a:rPr>
              <a:t>ERASE</a:t>
            </a:r>
            <a:r>
              <a:rPr lang="pt-PT" sz="600" b="1" baseline="0">
                <a:solidFill>
                  <a:schemeClr val="bg1"/>
                </a:solidFill>
              </a:rPr>
              <a:t> THIS CAPTION IN THE END</a:t>
            </a:r>
            <a:endParaRPr lang="en-US" sz="600" b="1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>
                <a:solidFill>
                  <a:schemeClr val="bg1"/>
                </a:solidFill>
              </a:rPr>
            </a:br>
            <a:r>
              <a:rPr lang="pt-PT" sz="600" b="1">
                <a:solidFill>
                  <a:schemeClr val="bg1"/>
                </a:solidFill>
              </a:rPr>
              <a:t>[To </a:t>
            </a:r>
            <a:r>
              <a:rPr lang="pt-PT" sz="600" b="1" err="1">
                <a:solidFill>
                  <a:schemeClr val="bg1"/>
                </a:solidFill>
              </a:rPr>
              <a:t>edit</a:t>
            </a:r>
            <a:r>
              <a:rPr lang="pt-PT" sz="600" b="1">
                <a:solidFill>
                  <a:schemeClr val="bg1"/>
                </a:solidFill>
              </a:rPr>
              <a:t>, </a:t>
            </a:r>
            <a:r>
              <a:rPr lang="pt-PT" sz="600" b="1" err="1">
                <a:solidFill>
                  <a:schemeClr val="bg1"/>
                </a:solidFill>
              </a:rPr>
              <a:t>click</a:t>
            </a:r>
            <a:r>
              <a:rPr lang="pt-PT" sz="600" b="1">
                <a:solidFill>
                  <a:schemeClr val="bg1"/>
                </a:solidFill>
              </a:rPr>
              <a:t> </a:t>
            </a:r>
            <a:r>
              <a:rPr lang="pt-PT" sz="600" b="1" err="1">
                <a:solidFill>
                  <a:schemeClr val="bg1"/>
                </a:solidFill>
              </a:rPr>
              <a:t>View</a:t>
            </a:r>
            <a:r>
              <a:rPr lang="pt-PT" sz="600" b="1">
                <a:solidFill>
                  <a:schemeClr val="bg1"/>
                </a:solidFill>
              </a:rPr>
              <a:t> &gt; Slide Master &gt; Slide Master] &gt; ERASE</a:t>
            </a:r>
            <a:r>
              <a:rPr lang="pt-PT" sz="600" b="1" baseline="0">
                <a:solidFill>
                  <a:schemeClr val="bg1"/>
                </a:solidFill>
              </a:rPr>
              <a:t> THIS CAPTION IN THE END</a:t>
            </a:r>
            <a:endParaRPr lang="pt-PT" sz="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14377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>
                <a:solidFill>
                  <a:schemeClr val="accent5"/>
                </a:solidFill>
              </a:rPr>
              <a:t>[To edit, click View &gt; Slide Master &gt; Slide Master] &gt; </a:t>
            </a:r>
            <a:r>
              <a:rPr lang="pt-PT" sz="600" b="1">
                <a:solidFill>
                  <a:schemeClr val="accent5"/>
                </a:solidFill>
              </a:rPr>
              <a:t>ERASE</a:t>
            </a:r>
            <a:r>
              <a:rPr lang="pt-PT" sz="600" b="1" baseline="0">
                <a:solidFill>
                  <a:schemeClr val="accent5"/>
                </a:solidFill>
              </a:rPr>
              <a:t> THIS CAPTION IN THE END</a:t>
            </a:r>
            <a:endParaRPr lang="en-US" sz="600" b="1">
              <a:solidFill>
                <a:schemeClr val="accent5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>
                <a:solidFill>
                  <a:prstClr val="black"/>
                </a:solidFill>
              </a:rPr>
            </a:br>
            <a:r>
              <a:rPr lang="pt-PT" sz="600" b="1">
                <a:solidFill>
                  <a:schemeClr val="accent5"/>
                </a:solidFill>
              </a:rPr>
              <a:t>[To </a:t>
            </a:r>
            <a:r>
              <a:rPr lang="pt-PT" sz="600" b="1" err="1">
                <a:solidFill>
                  <a:schemeClr val="accent5"/>
                </a:solidFill>
              </a:rPr>
              <a:t>edit</a:t>
            </a:r>
            <a:r>
              <a:rPr lang="pt-PT" sz="600" b="1">
                <a:solidFill>
                  <a:schemeClr val="accent5"/>
                </a:solidFill>
              </a:rPr>
              <a:t>, </a:t>
            </a:r>
            <a:r>
              <a:rPr lang="pt-PT" sz="600" b="1" err="1">
                <a:solidFill>
                  <a:schemeClr val="accent5"/>
                </a:solidFill>
              </a:rPr>
              <a:t>click</a:t>
            </a:r>
            <a:r>
              <a:rPr lang="pt-PT" sz="600" b="1">
                <a:solidFill>
                  <a:schemeClr val="accent5"/>
                </a:solidFill>
              </a:rPr>
              <a:t> </a:t>
            </a:r>
            <a:r>
              <a:rPr lang="pt-PT" sz="600" b="1" err="1">
                <a:solidFill>
                  <a:schemeClr val="accent5"/>
                </a:solidFill>
              </a:rPr>
              <a:t>View</a:t>
            </a:r>
            <a:r>
              <a:rPr lang="pt-PT" sz="600" b="1">
                <a:solidFill>
                  <a:schemeClr val="accent5"/>
                </a:solidFill>
              </a:rPr>
              <a:t> &gt; Slide Master &gt; Slide Master] &gt; ERASE</a:t>
            </a:r>
            <a:r>
              <a:rPr lang="pt-PT" sz="600" b="1" baseline="0">
                <a:solidFill>
                  <a:schemeClr val="accent5"/>
                </a:solidFill>
              </a:rPr>
              <a:t> THIS CAPTION IN THE END</a:t>
            </a:r>
            <a:endParaRPr lang="pt-PT" sz="600" b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35259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912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912366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18928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503198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287686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6429784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073981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012866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57130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714664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912667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584039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584336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019644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73547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235194" indent="-235194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0"/>
              </a:spcAft>
              <a:defRPr baseline="0"/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365418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41102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094169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0" y="1700213"/>
            <a:ext cx="3627438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3832225"/>
            <a:ext cx="3627438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764223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420157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/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9294055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333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6167442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2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55815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333"/>
              </a:spcAft>
              <a:defRPr/>
            </a:lvl2pPr>
            <a:lvl3pPr marL="0" indent="0">
              <a:spcAft>
                <a:spcPts val="1333"/>
              </a:spcAft>
              <a:buNone/>
              <a:defRPr/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/>
            </a:lvl4pPr>
            <a:lvl5pPr marL="475188" indent="-235194">
              <a:spcAft>
                <a:spcPts val="1333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79128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333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333"/>
              </a:spcAft>
              <a:buNone/>
              <a:defRPr>
                <a:solidFill>
                  <a:schemeClr val="bg1"/>
                </a:solidFill>
              </a:defRPr>
            </a:lvl3pPr>
            <a:lvl4pPr marL="235194" indent="-235194">
              <a:spcAft>
                <a:spcPts val="1333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475188" indent="-235194">
              <a:spcAft>
                <a:spcPts val="1333"/>
              </a:spcAft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>
                <a:solidFill>
                  <a:schemeClr val="accent5"/>
                </a:solidFill>
              </a:rPr>
              <a:t>[To edit, click View &gt; Slide Master &gt; Slide Master] &gt; </a:t>
            </a:r>
            <a:r>
              <a:rPr lang="pt-PT" sz="600" b="1">
                <a:solidFill>
                  <a:schemeClr val="accent5"/>
                </a:solidFill>
              </a:rPr>
              <a:t>ERASE</a:t>
            </a:r>
            <a:r>
              <a:rPr lang="pt-PT" sz="600" b="1" baseline="0">
                <a:solidFill>
                  <a:schemeClr val="accent5"/>
                </a:solidFill>
              </a:rPr>
              <a:t> THIS CAPTION IN THE END</a:t>
            </a:r>
            <a:endParaRPr lang="en-US" sz="600" b="1">
              <a:solidFill>
                <a:schemeClr val="accent5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>
                <a:solidFill>
                  <a:prstClr val="black"/>
                </a:solidFill>
              </a:rPr>
            </a:br>
            <a:r>
              <a:rPr lang="pt-PT" sz="600" b="1">
                <a:solidFill>
                  <a:schemeClr val="accent5"/>
                </a:solidFill>
              </a:rPr>
              <a:t>[To </a:t>
            </a:r>
            <a:r>
              <a:rPr lang="pt-PT" sz="600" b="1" err="1">
                <a:solidFill>
                  <a:schemeClr val="accent5"/>
                </a:solidFill>
              </a:rPr>
              <a:t>edit</a:t>
            </a:r>
            <a:r>
              <a:rPr lang="pt-PT" sz="600" b="1">
                <a:solidFill>
                  <a:schemeClr val="accent5"/>
                </a:solidFill>
              </a:rPr>
              <a:t>, </a:t>
            </a:r>
            <a:r>
              <a:rPr lang="pt-PT" sz="600" b="1" err="1">
                <a:solidFill>
                  <a:schemeClr val="accent5"/>
                </a:solidFill>
              </a:rPr>
              <a:t>click</a:t>
            </a:r>
            <a:r>
              <a:rPr lang="pt-PT" sz="600" b="1">
                <a:solidFill>
                  <a:schemeClr val="accent5"/>
                </a:solidFill>
              </a:rPr>
              <a:t> </a:t>
            </a:r>
            <a:r>
              <a:rPr lang="pt-PT" sz="600" b="1" err="1">
                <a:solidFill>
                  <a:schemeClr val="accent5"/>
                </a:solidFill>
              </a:rPr>
              <a:t>View</a:t>
            </a:r>
            <a:r>
              <a:rPr lang="pt-PT" sz="600" b="1">
                <a:solidFill>
                  <a:schemeClr val="accent5"/>
                </a:solidFill>
              </a:rPr>
              <a:t> &gt; Slide Master &gt; Slide Master] &gt; ERASE</a:t>
            </a:r>
            <a:r>
              <a:rPr lang="pt-PT" sz="600" b="1" baseline="0">
                <a:solidFill>
                  <a:schemeClr val="accent5"/>
                </a:solidFill>
              </a:rPr>
              <a:t> THIS CAPTION IN THE END</a:t>
            </a:r>
            <a:endParaRPr lang="pt-PT" sz="600" b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77844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7153647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497563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91490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7718188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DD56D6-5FE1-4D5F-BD8F-B923A620CA0E}" type="datetimeFigureOut">
              <a:rPr lang="en-US" smtClean="0"/>
              <a:t>1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215D38-8C26-4425-963D-FBDDABF5623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78426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12192000" cy="6857999"/>
          </a:xfrm>
          <a:noFill/>
        </p:spPr>
        <p:txBody>
          <a:bodyPr anchor="ctr"/>
          <a:lstStyle>
            <a:lvl1pPr marL="0" indent="0" algn="ctr">
              <a:buNone/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914402" y="4821545"/>
            <a:ext cx="4389120" cy="2036455"/>
          </a:xfrm>
          <a:solidFill>
            <a:schemeClr val="bg1"/>
          </a:solidFill>
        </p:spPr>
        <p:txBody>
          <a:bodyPr vert="horz" lIns="365760" tIns="365760" rIns="365760" bIns="1280160" rtlCol="0" anchor="b" anchorCtr="0">
            <a:spAutoFit/>
          </a:bodyPr>
          <a:lstStyle>
            <a:lvl1pPr>
              <a:lnSpc>
                <a:spcPct val="90000"/>
              </a:lnSpc>
              <a:defRPr lang="en-US" sz="2863" b="1" baseline="0" dirty="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pPr lvl="0">
              <a:lnSpc>
                <a:spcPct val="85000"/>
              </a:lnSpc>
            </a:pPr>
            <a:r>
              <a:rPr lang="en-US"/>
              <a:t>Click to edit Tit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2" y="5694830"/>
            <a:ext cx="4389120" cy="1163171"/>
          </a:xfrm>
        </p:spPr>
        <p:txBody>
          <a:bodyPr vert="horz" lIns="365760" tIns="0" rIns="365760" bIns="0" rtlCol="0">
            <a:noAutofit/>
          </a:bodyPr>
          <a:lstStyle>
            <a:lvl1pPr marL="0" indent="0">
              <a:buNone/>
              <a:defRPr lang="en-US" sz="1113" baseline="0" dirty="0"/>
            </a:lvl1pPr>
          </a:lstStyle>
          <a:p>
            <a:pPr marL="181818" lvl="0" indent="-181818">
              <a:lnSpc>
                <a:spcPct val="130000"/>
              </a:lnSpc>
            </a:pPr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82189186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,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804672"/>
            <a:ext cx="3347390" cy="1995802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2863" spc="-60" dirty="0">
                <a:latin typeface="+mj-lt"/>
              </a:defRPr>
            </a:lvl1pPr>
          </a:lstStyle>
          <a:p>
            <a:pPr lvl="0" defTabSz="545454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2743200"/>
            <a:ext cx="3355975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954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2679760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, Subhead &amp; Breadcrum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804672"/>
            <a:ext cx="3352800" cy="1993390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2863" spc="-60" dirty="0">
                <a:latin typeface="+mj-lt"/>
              </a:defRPr>
            </a:lvl1pPr>
          </a:lstStyle>
          <a:p>
            <a:pPr lvl="0" defTabSz="545454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914971" y="466344"/>
            <a:ext cx="3355848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716" b="1" kern="0" cap="all" spc="199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181818" lvl="0" indent="-181818"/>
            <a:r>
              <a:rPr lang="en-US"/>
              <a:t>BREADCRUMB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914400" y="2743200"/>
            <a:ext cx="3355975" cy="1169988"/>
          </a:xfrm>
        </p:spPr>
        <p:txBody>
          <a:bodyPr/>
          <a:lstStyle>
            <a:lvl1pPr marL="0" indent="0">
              <a:lnSpc>
                <a:spcPct val="130000"/>
              </a:lnSpc>
              <a:buNone/>
              <a:defRPr sz="954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4307832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ster Block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14400" y="1217629"/>
            <a:ext cx="10363200" cy="3690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147" b="1"/>
              <a:t>Do not use this</a:t>
            </a:r>
            <a:r>
              <a:rPr lang="en-US" sz="9147" b="1" baseline="0"/>
              <a:t> layout</a:t>
            </a:r>
          </a:p>
          <a:p>
            <a:pPr algn="ctr"/>
            <a:endParaRPr lang="en-US" sz="2545" b="1" baseline="0"/>
          </a:p>
          <a:p>
            <a:pPr algn="ctr"/>
            <a:r>
              <a:rPr lang="en-US" sz="2545" b="0" baseline="0"/>
              <a:t>Delete any master slides that occur after this layout</a:t>
            </a:r>
            <a:endParaRPr lang="en-US" sz="2545" b="0"/>
          </a:p>
        </p:txBody>
      </p:sp>
    </p:spTree>
    <p:extLst>
      <p:ext uri="{BB962C8B-B14F-4D97-AF65-F5344CB8AC3E}">
        <p14:creationId xmlns:p14="http://schemas.microsoft.com/office/powerpoint/2010/main" val="407537062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_no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95922EAA-9DB7-4759-A39E-BD4002B6CA88}" type="datetimeFigureOut">
              <a:rPr lang="en-US" smtClean="0">
                <a:solidFill>
                  <a:srgbClr val="E7E7E8"/>
                </a:solidFill>
              </a:rPr>
              <a:pPr/>
              <a:t>1/23/2023</a:t>
            </a:fld>
            <a:endParaRPr lang="en-US">
              <a:solidFill>
                <a:srgbClr val="E7E7E8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56C0D935-D802-48C2-BA0B-1A8DBFF4C45B}" type="slidenum">
              <a:rPr lang="en-US" smtClean="0">
                <a:solidFill>
                  <a:srgbClr val="5C5C5C">
                    <a:tint val="75000"/>
                  </a:srgbClr>
                </a:solidFill>
              </a:rPr>
              <a:pPr/>
              <a:t>‹Nr.›</a:t>
            </a:fld>
            <a:endParaRPr lang="en-US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844740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20544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986409" y="6476999"/>
            <a:ext cx="5245336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>
                <a:solidFill>
                  <a:schemeClr val="bg1"/>
                </a:solidFill>
              </a:rPr>
              <a:t>Promoting education and skills in the bioeconomy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501649" y="6477000"/>
            <a:ext cx="5682903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>
                <a:solidFill>
                  <a:schemeClr val="bg1"/>
                </a:solidFill>
              </a:rPr>
              <a:t>© 2021</a:t>
            </a:r>
            <a:endParaRPr lang="pt-PT" sz="600" b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7693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>
                <a:solidFill>
                  <a:schemeClr val="accent5"/>
                </a:solidFill>
              </a:rPr>
              <a:t>[To edit, click View &gt; Slide Master &gt; Slide Master] &gt; </a:t>
            </a:r>
            <a:r>
              <a:rPr lang="pt-PT" sz="600" b="1">
                <a:solidFill>
                  <a:schemeClr val="accent5"/>
                </a:solidFill>
              </a:rPr>
              <a:t>ERASE</a:t>
            </a:r>
            <a:r>
              <a:rPr lang="pt-PT" sz="600" b="1" baseline="0">
                <a:solidFill>
                  <a:schemeClr val="accent5"/>
                </a:solidFill>
              </a:rPr>
              <a:t> THIS CAPTION IN THE END</a:t>
            </a:r>
            <a:endParaRPr lang="en-US" sz="600" b="1">
              <a:solidFill>
                <a:schemeClr val="accent5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>
                <a:solidFill>
                  <a:prstClr val="black"/>
                </a:solidFill>
              </a:rPr>
            </a:br>
            <a:r>
              <a:rPr lang="pt-PT" sz="600" b="1">
                <a:solidFill>
                  <a:schemeClr val="accent5"/>
                </a:solidFill>
              </a:rPr>
              <a:t>[To </a:t>
            </a:r>
            <a:r>
              <a:rPr lang="pt-PT" sz="600" b="1" err="1">
                <a:solidFill>
                  <a:schemeClr val="accent5"/>
                </a:solidFill>
              </a:rPr>
              <a:t>edit</a:t>
            </a:r>
            <a:r>
              <a:rPr lang="pt-PT" sz="600" b="1">
                <a:solidFill>
                  <a:schemeClr val="accent5"/>
                </a:solidFill>
              </a:rPr>
              <a:t>, </a:t>
            </a:r>
            <a:r>
              <a:rPr lang="pt-PT" sz="600" b="1" err="1">
                <a:solidFill>
                  <a:schemeClr val="accent5"/>
                </a:solidFill>
              </a:rPr>
              <a:t>click</a:t>
            </a:r>
            <a:r>
              <a:rPr lang="pt-PT" sz="600" b="1">
                <a:solidFill>
                  <a:schemeClr val="accent5"/>
                </a:solidFill>
              </a:rPr>
              <a:t> </a:t>
            </a:r>
            <a:r>
              <a:rPr lang="pt-PT" sz="600" b="1" err="1">
                <a:solidFill>
                  <a:schemeClr val="accent5"/>
                </a:solidFill>
              </a:rPr>
              <a:t>View</a:t>
            </a:r>
            <a:r>
              <a:rPr lang="pt-PT" sz="600" b="1">
                <a:solidFill>
                  <a:schemeClr val="accent5"/>
                </a:solidFill>
              </a:rPr>
              <a:t> &gt; Slide Master &gt; Slide Master] &gt; ERASE</a:t>
            </a:r>
            <a:r>
              <a:rPr lang="pt-PT" sz="600" b="1" baseline="0">
                <a:solidFill>
                  <a:schemeClr val="accent5"/>
                </a:solidFill>
              </a:rPr>
              <a:t> THIS CAPTION IN THE END</a:t>
            </a:r>
            <a:endParaRPr lang="pt-PT" sz="600" b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6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>
                <a:solidFill>
                  <a:schemeClr val="accent5"/>
                </a:solidFill>
              </a:rPr>
              <a:t>[To edit, click View &gt; Slide Master &gt; Slide Master] &gt; </a:t>
            </a:r>
            <a:r>
              <a:rPr lang="pt-PT" sz="600" b="1">
                <a:solidFill>
                  <a:schemeClr val="accent5"/>
                </a:solidFill>
              </a:rPr>
              <a:t>ERASE</a:t>
            </a:r>
            <a:r>
              <a:rPr lang="pt-PT" sz="600" b="1" baseline="0">
                <a:solidFill>
                  <a:schemeClr val="accent5"/>
                </a:solidFill>
              </a:rPr>
              <a:t> THIS CAPTION IN THE END</a:t>
            </a:r>
            <a:endParaRPr lang="en-US" sz="600" b="1">
              <a:solidFill>
                <a:schemeClr val="accent5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>
                <a:solidFill>
                  <a:prstClr val="black"/>
                </a:solidFill>
              </a:rPr>
            </a:br>
            <a:r>
              <a:rPr lang="pt-PT" sz="600" b="1">
                <a:solidFill>
                  <a:schemeClr val="accent5"/>
                </a:solidFill>
              </a:rPr>
              <a:t>[To </a:t>
            </a:r>
            <a:r>
              <a:rPr lang="pt-PT" sz="600" b="1" err="1">
                <a:solidFill>
                  <a:schemeClr val="accent5"/>
                </a:solidFill>
              </a:rPr>
              <a:t>edit</a:t>
            </a:r>
            <a:r>
              <a:rPr lang="pt-PT" sz="600" b="1">
                <a:solidFill>
                  <a:schemeClr val="accent5"/>
                </a:solidFill>
              </a:rPr>
              <a:t>, </a:t>
            </a:r>
            <a:r>
              <a:rPr lang="pt-PT" sz="600" b="1" err="1">
                <a:solidFill>
                  <a:schemeClr val="accent5"/>
                </a:solidFill>
              </a:rPr>
              <a:t>click</a:t>
            </a:r>
            <a:r>
              <a:rPr lang="pt-PT" sz="600" b="1">
                <a:solidFill>
                  <a:schemeClr val="accent5"/>
                </a:solidFill>
              </a:rPr>
              <a:t> </a:t>
            </a:r>
            <a:r>
              <a:rPr lang="pt-PT" sz="600" b="1" err="1">
                <a:solidFill>
                  <a:schemeClr val="accent5"/>
                </a:solidFill>
              </a:rPr>
              <a:t>View</a:t>
            </a:r>
            <a:r>
              <a:rPr lang="pt-PT" sz="600" b="1">
                <a:solidFill>
                  <a:schemeClr val="accent5"/>
                </a:solidFill>
              </a:rPr>
              <a:t> &gt; Slide Master &gt; Slide Master] &gt; ERASE</a:t>
            </a:r>
            <a:r>
              <a:rPr lang="pt-PT" sz="600" b="1" baseline="0">
                <a:solidFill>
                  <a:schemeClr val="accent5"/>
                </a:solidFill>
              </a:rPr>
              <a:t> THIS CAPTION IN THE END</a:t>
            </a:r>
            <a:endParaRPr lang="pt-PT" sz="600" b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0382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>
                <a:solidFill>
                  <a:schemeClr val="accent5"/>
                </a:solidFill>
              </a:rPr>
              <a:t>[To edit, click View &gt; Slide Master &gt; Slide Master] &gt; </a:t>
            </a:r>
            <a:r>
              <a:rPr lang="pt-PT" sz="600" b="1">
                <a:solidFill>
                  <a:schemeClr val="accent5"/>
                </a:solidFill>
              </a:rPr>
              <a:t>ERASE</a:t>
            </a:r>
            <a:r>
              <a:rPr lang="pt-PT" sz="600" b="1" baseline="0">
                <a:solidFill>
                  <a:schemeClr val="accent5"/>
                </a:solidFill>
              </a:rPr>
              <a:t> THIS CAPTION IN THE END</a:t>
            </a:r>
            <a:endParaRPr lang="en-US" sz="600" b="1">
              <a:solidFill>
                <a:schemeClr val="accent5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>
                <a:solidFill>
                  <a:prstClr val="black"/>
                </a:solidFill>
              </a:rPr>
            </a:br>
            <a:r>
              <a:rPr lang="pt-PT" sz="600" b="1">
                <a:solidFill>
                  <a:schemeClr val="accent5"/>
                </a:solidFill>
              </a:rPr>
              <a:t>[To </a:t>
            </a:r>
            <a:r>
              <a:rPr lang="pt-PT" sz="600" b="1" err="1">
                <a:solidFill>
                  <a:schemeClr val="accent5"/>
                </a:solidFill>
              </a:rPr>
              <a:t>edit</a:t>
            </a:r>
            <a:r>
              <a:rPr lang="pt-PT" sz="600" b="1">
                <a:solidFill>
                  <a:schemeClr val="accent5"/>
                </a:solidFill>
              </a:rPr>
              <a:t>, </a:t>
            </a:r>
            <a:r>
              <a:rPr lang="pt-PT" sz="600" b="1" err="1">
                <a:solidFill>
                  <a:schemeClr val="accent5"/>
                </a:solidFill>
              </a:rPr>
              <a:t>click</a:t>
            </a:r>
            <a:r>
              <a:rPr lang="pt-PT" sz="600" b="1">
                <a:solidFill>
                  <a:schemeClr val="accent5"/>
                </a:solidFill>
              </a:rPr>
              <a:t> </a:t>
            </a:r>
            <a:r>
              <a:rPr lang="pt-PT" sz="600" b="1" err="1">
                <a:solidFill>
                  <a:schemeClr val="accent5"/>
                </a:solidFill>
              </a:rPr>
              <a:t>View</a:t>
            </a:r>
            <a:r>
              <a:rPr lang="pt-PT" sz="600" b="1">
                <a:solidFill>
                  <a:schemeClr val="accent5"/>
                </a:solidFill>
              </a:rPr>
              <a:t> &gt; Slide Master &gt; Slide Master] &gt; ERASE</a:t>
            </a:r>
            <a:r>
              <a:rPr lang="pt-PT" sz="600" b="1" baseline="0">
                <a:solidFill>
                  <a:schemeClr val="accent5"/>
                </a:solidFill>
              </a:rPr>
              <a:t> THIS CAPTION IN THE END</a:t>
            </a:r>
            <a:endParaRPr lang="pt-PT" sz="600" b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7221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986409" y="6476999"/>
            <a:ext cx="5245336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914400">
              <a:buSzPct val="100000"/>
              <a:buFont typeface="Arial"/>
              <a:buNone/>
            </a:pPr>
            <a:r>
              <a:rPr lang="en-US" sz="650">
                <a:solidFill>
                  <a:schemeClr val="bg1"/>
                </a:solidFill>
              </a:rPr>
              <a:t>Presentation title</a:t>
            </a:r>
          </a:p>
          <a:p>
            <a:pPr algn="r" defTabSz="914400">
              <a:buSzPct val="100000"/>
              <a:buFont typeface="Arial"/>
              <a:buNone/>
            </a:pPr>
            <a:r>
              <a:rPr lang="en-US" sz="600" b="1">
                <a:solidFill>
                  <a:schemeClr val="accent5"/>
                </a:solidFill>
              </a:rPr>
              <a:t>[To edit, click View &gt; Slide Master &gt; Slide Master] &gt; </a:t>
            </a:r>
            <a:r>
              <a:rPr lang="pt-PT" sz="600" b="1">
                <a:solidFill>
                  <a:schemeClr val="accent5"/>
                </a:solidFill>
              </a:rPr>
              <a:t>ERASE</a:t>
            </a:r>
            <a:r>
              <a:rPr lang="pt-PT" sz="600" b="1" baseline="0">
                <a:solidFill>
                  <a:schemeClr val="accent5"/>
                </a:solidFill>
              </a:rPr>
              <a:t> THIS CAPTION IN THE END</a:t>
            </a:r>
            <a:endParaRPr lang="en-US" sz="600" b="1">
              <a:solidFill>
                <a:schemeClr val="accent5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501649" y="6477000"/>
            <a:ext cx="5682903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Bef>
                <a:spcPts val="600"/>
              </a:spcBef>
              <a:buSzPct val="100000"/>
              <a:buFont typeface="Arial"/>
              <a:buNone/>
            </a:pPr>
            <a:r>
              <a:rPr lang="pt-PT" sz="650">
                <a:solidFill>
                  <a:schemeClr val="bg1"/>
                </a:solidFill>
              </a:rPr>
              <a:t>© 2019. Para informações, contacte [inserir aqui a entidade legal]</a:t>
            </a:r>
            <a:br>
              <a:rPr lang="pt-PT" sz="650">
                <a:solidFill>
                  <a:prstClr val="black"/>
                </a:solidFill>
              </a:rPr>
            </a:br>
            <a:r>
              <a:rPr lang="pt-PT" sz="600" b="1">
                <a:solidFill>
                  <a:schemeClr val="accent5"/>
                </a:solidFill>
              </a:rPr>
              <a:t>[To </a:t>
            </a:r>
            <a:r>
              <a:rPr lang="pt-PT" sz="600" b="1" err="1">
                <a:solidFill>
                  <a:schemeClr val="accent5"/>
                </a:solidFill>
              </a:rPr>
              <a:t>edit</a:t>
            </a:r>
            <a:r>
              <a:rPr lang="pt-PT" sz="600" b="1">
                <a:solidFill>
                  <a:schemeClr val="accent5"/>
                </a:solidFill>
              </a:rPr>
              <a:t>, </a:t>
            </a:r>
            <a:r>
              <a:rPr lang="pt-PT" sz="600" b="1" err="1">
                <a:solidFill>
                  <a:schemeClr val="accent5"/>
                </a:solidFill>
              </a:rPr>
              <a:t>click</a:t>
            </a:r>
            <a:r>
              <a:rPr lang="pt-PT" sz="600" b="1">
                <a:solidFill>
                  <a:schemeClr val="accent5"/>
                </a:solidFill>
              </a:rPr>
              <a:t> </a:t>
            </a:r>
            <a:r>
              <a:rPr lang="pt-PT" sz="600" b="1" err="1">
                <a:solidFill>
                  <a:schemeClr val="accent5"/>
                </a:solidFill>
              </a:rPr>
              <a:t>View</a:t>
            </a:r>
            <a:r>
              <a:rPr lang="pt-PT" sz="600" b="1">
                <a:solidFill>
                  <a:schemeClr val="accent5"/>
                </a:solidFill>
              </a:rPr>
              <a:t> &gt; Slide Master &gt; Slide Master] &gt; ERASE</a:t>
            </a:r>
            <a:r>
              <a:rPr lang="pt-PT" sz="600" b="1" baseline="0">
                <a:solidFill>
                  <a:schemeClr val="accent5"/>
                </a:solidFill>
              </a:rPr>
              <a:t> THIS CAPTION IN THE END</a:t>
            </a:r>
            <a:endParaRPr lang="pt-PT" sz="600" b="1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7423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3537583996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270" imgH="270" progId="TCLayout.ActiveDocument.1">
                  <p:embed/>
                </p:oleObj>
              </mc:Choice>
              <mc:Fallback>
                <p:oleObj name="think-cell Slide" r:id="rId5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50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6000"/>
              </a:lnSpc>
              <a:buFont typeface="Wingdings 2" pitchFamily="18" charset="2"/>
              <a:buNone/>
            </a:pPr>
            <a:endParaRPr lang="en-US" sz="2000" b="0" i="0" baseline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514393" y="6476999"/>
            <a:ext cx="489656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GB" sz="650" b="0" noProof="0">
                <a:solidFill>
                  <a:schemeClr val="tx1"/>
                </a:solidFill>
              </a:rPr>
              <a:t>Promote education and skills across the bioeconomy</a:t>
            </a:r>
            <a:endParaRPr lang="en-US" sz="650" b="1" noProof="0">
              <a:solidFill>
                <a:schemeClr val="accent5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pt-PT" sz="650" noProof="0">
                <a:solidFill>
                  <a:schemeClr val="tx1"/>
                </a:solidFill>
              </a:rPr>
              <a:t>© 2022</a:t>
            </a:r>
            <a:endParaRPr lang="pt-PT" sz="650" b="1" noProof="0">
              <a:solidFill>
                <a:schemeClr val="accent5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Nr.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8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  <p:sldLayoutId id="2147483796" r:id="rId24"/>
    <p:sldLayoutId id="2147483797" r:id="rId25"/>
    <p:sldLayoutId id="2147483798" r:id="rId26"/>
    <p:sldLayoutId id="2147483799" r:id="rId27"/>
    <p:sldLayoutId id="2147483800" r:id="rId28"/>
    <p:sldLayoutId id="2147483801" r:id="rId29"/>
    <p:sldLayoutId id="2147483802" r:id="rId30"/>
    <p:sldLayoutId id="2147483803" r:id="rId31"/>
    <p:sldLayoutId id="2147483804" r:id="rId32"/>
    <p:sldLayoutId id="2147483805" r:id="rId33"/>
    <p:sldLayoutId id="2147483806" r:id="rId34"/>
    <p:sldLayoutId id="2147483807" r:id="rId35"/>
    <p:sldLayoutId id="2147483808" r:id="rId36"/>
    <p:sldLayoutId id="2147483809" r:id="rId37"/>
    <p:sldLayoutId id="2147483810" r:id="rId38"/>
    <p:sldLayoutId id="2147483811" r:id="rId39"/>
    <p:sldLayoutId id="2147483812" r:id="rId40"/>
    <p:sldLayoutId id="2147483813" r:id="rId41"/>
    <p:sldLayoutId id="2147483816" r:id="rId42"/>
    <p:sldLayoutId id="2147483817" r:id="rId43"/>
    <p:sldLayoutId id="2147483818" r:id="rId44"/>
    <p:sldLayoutId id="2147483819" r:id="rId45"/>
    <p:sldLayoutId id="2147483820" r:id="rId46"/>
    <p:sldLayoutId id="2147483909" r:id="rId47"/>
  </p:sldLayoutIdLst>
  <p:transition>
    <p:fade/>
  </p:transition>
  <p:hf hd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3974" userDrawn="1">
          <p15:clr>
            <a:srgbClr val="F26B43"/>
          </p15:clr>
        </p15:guide>
        <p15:guide id="4" pos="296" userDrawn="1">
          <p15:clr>
            <a:srgbClr val="F26B43"/>
          </p15:clr>
        </p15:guide>
        <p15:guide id="5" pos="738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45" userDrawn="1">
          <p15:clr>
            <a:srgbClr val="F26B43"/>
          </p15:clr>
        </p15:guide>
        <p15:guide id="8" orient="horz" pos="4081" userDrawn="1">
          <p15:clr>
            <a:srgbClr val="F26B43"/>
          </p15:clr>
        </p15:guide>
        <p15:guide id="10" pos="4986" userDrawn="1">
          <p15:clr>
            <a:srgbClr val="F26B43"/>
          </p15:clr>
        </p15:guide>
        <p15:guide id="12" pos="1382" userDrawn="1">
          <p15:clr>
            <a:srgbClr val="F26B43"/>
          </p15:clr>
        </p15:guide>
        <p15:guide id="13" pos="1496" userDrawn="1">
          <p15:clr>
            <a:srgbClr val="F26B43"/>
          </p15:clr>
        </p15:guide>
        <p15:guide id="14" pos="2581" userDrawn="1">
          <p15:clr>
            <a:srgbClr val="F26B43"/>
          </p15:clr>
        </p15:guide>
        <p15:guide id="15" pos="2695" userDrawn="1">
          <p15:clr>
            <a:srgbClr val="F26B43"/>
          </p15:clr>
        </p15:guide>
        <p15:guide id="16" pos="6185" userDrawn="1">
          <p15:clr>
            <a:srgbClr val="F26B43"/>
          </p15:clr>
        </p15:guide>
        <p15:guide id="17" pos="3783" userDrawn="1">
          <p15:clr>
            <a:srgbClr val="F26B43"/>
          </p15:clr>
        </p15:guide>
        <p15:guide id="18" pos="389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299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1" userDrawn="1">
          <p15:clr>
            <a:srgbClr val="F26B43"/>
          </p15:clr>
        </p15:guide>
        <p15:guide id="23" orient="horz" pos="2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2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3.xml"/><Relationship Id="rId6" Type="http://schemas.openxmlformats.org/officeDocument/2006/relationships/image" Target="../media/image12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4.xml"/><Relationship Id="rId6" Type="http://schemas.openxmlformats.org/officeDocument/2006/relationships/image" Target="../media/image13.emf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.xml"/><Relationship Id="rId6" Type="http://schemas.openxmlformats.org/officeDocument/2006/relationships/image" Target="../media/image14.emf"/><Relationship Id="rId5" Type="http://schemas.openxmlformats.org/officeDocument/2006/relationships/image" Target="../media/image8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6.x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Relationship Id="rId6" Type="http://schemas.openxmlformats.org/officeDocument/2006/relationships/image" Target="../media/image10.gif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8.xml"/><Relationship Id="rId6" Type="http://schemas.openxmlformats.org/officeDocument/2006/relationships/image" Target="../media/image11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8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1.xml"/><Relationship Id="rId6" Type="http://schemas.openxmlformats.org/officeDocument/2006/relationships/diagramData" Target="../diagrams/data1.xml"/><Relationship Id="rId5" Type="http://schemas.openxmlformats.org/officeDocument/2006/relationships/image" Target="../media/image8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9.bin"/><Relationship Id="rId9" Type="http://schemas.openxmlformats.org/officeDocument/2006/relationships/diagramColors" Target="../diagrams/colors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ubtitle 12"/>
          <p:cNvSpPr>
            <a:spLocks noGrp="1"/>
          </p:cNvSpPr>
          <p:nvPr>
            <p:ph type="subTitle" idx="1"/>
          </p:nvPr>
        </p:nvSpPr>
        <p:spPr>
          <a:xfrm>
            <a:off x="1137533" y="3429000"/>
            <a:ext cx="10270557" cy="2372401"/>
          </a:xfrm>
        </p:spPr>
        <p:txBody>
          <a:bodyPr/>
          <a:lstStyle/>
          <a:p>
            <a:pPr>
              <a:lnSpc>
                <a:spcPct val="200000"/>
              </a:lnSpc>
            </a:pPr>
            <a:endParaRPr lang="en-GB" sz="1600" b="0" dirty="0"/>
          </a:p>
          <a:p>
            <a:pPr>
              <a:lnSpc>
                <a:spcPct val="200000"/>
              </a:lnSpc>
            </a:pPr>
            <a:r>
              <a:rPr lang="en-GB" sz="1600" dirty="0"/>
              <a:t>Promote education, training and skills across the bioeconomy</a:t>
            </a:r>
          </a:p>
          <a:p>
            <a:r>
              <a:rPr lang="en-GB" sz="2800" dirty="0">
                <a:solidFill>
                  <a:srgbClr val="86BC25"/>
                </a:solidFill>
              </a:rPr>
              <a:t>Research findings for entrepreneurship education</a:t>
            </a:r>
          </a:p>
          <a:p>
            <a:endParaRPr lang="en-GB" sz="1600" b="0" dirty="0"/>
          </a:p>
          <a:p>
            <a:r>
              <a:rPr lang="en-GB" sz="1600" b="0" dirty="0"/>
              <a:t>Stefan Lilischkis, empirica</a:t>
            </a:r>
          </a:p>
          <a:p>
            <a:endParaRPr lang="en-GB" sz="1600" b="0" dirty="0"/>
          </a:p>
          <a:p>
            <a:endParaRPr lang="en-GB" sz="1600" b="0" dirty="0"/>
          </a:p>
          <a:p>
            <a:pPr algn="r"/>
            <a:r>
              <a:rPr lang="en-GB" sz="1600" b="0" dirty="0"/>
              <a:t>EntreComp Food Conference, 26 January 2022</a:t>
            </a:r>
          </a:p>
          <a:p>
            <a:endParaRPr lang="en-GB" sz="1600" b="0" dirty="0"/>
          </a:p>
        </p:txBody>
      </p: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483606" y="471117"/>
            <a:ext cx="1736464" cy="325391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pic>
        <p:nvPicPr>
          <p:cNvPr id="30" name="Picture 29" descr="A picture containing food&#10;&#10;Description automatically generated">
            <a:extLst>
              <a:ext uri="{FF2B5EF4-FFF2-40B4-BE49-F238E27FC236}">
                <a16:creationId xmlns:a16="http://schemas.microsoft.com/office/drawing/2014/main" id="{9A706E4B-1E40-4E44-85ED-1CED7DAC9C3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3701" t="11378" r="15108" b="13304"/>
          <a:stretch/>
        </p:blipFill>
        <p:spPr>
          <a:xfrm>
            <a:off x="4778734" y="245865"/>
            <a:ext cx="2426476" cy="256713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821664F9-76AF-491F-BE7A-AB6313A1B3C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1011"/>
          <a:stretch/>
        </p:blipFill>
        <p:spPr>
          <a:xfrm>
            <a:off x="43788" y="988813"/>
            <a:ext cx="2769632" cy="1132753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B586E88-3A22-4311-A49B-DD91FF9D197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5836" y="1963428"/>
            <a:ext cx="2029369" cy="78919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59361EC-F161-495F-B834-AC3E5B951679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4235" t="29416" r="37255" b="25563"/>
          <a:stretch/>
        </p:blipFill>
        <p:spPr>
          <a:xfrm>
            <a:off x="10167938" y="471117"/>
            <a:ext cx="1314450" cy="896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571384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0924B3-C5EE-4FC9-8F43-9A5BBF9DA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0924B3-C5EE-4FC9-8F43-9A5BBF9DA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2765F1C-0A82-4037-8615-653073E2EE01}"/>
              </a:ext>
            </a:extLst>
          </p:cNvPr>
          <p:cNvSpPr txBox="1"/>
          <p:nvPr/>
        </p:nvSpPr>
        <p:spPr>
          <a:xfrm>
            <a:off x="1616597" y="2398988"/>
            <a:ext cx="8958806" cy="12618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b="1">
                <a:solidFill>
                  <a:srgbClr val="313131"/>
                </a:solidFill>
              </a:rPr>
              <a:t>Findings from mapping 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en-GB" b="1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rPr>
              <a:t>vocational education 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en-GB" b="1">
                <a:solidFill>
                  <a:srgbClr val="313131"/>
                </a:solidFill>
              </a:rPr>
              <a:t>programmes </a:t>
            </a:r>
          </a:p>
        </p:txBody>
      </p:sp>
    </p:spTree>
    <p:extLst>
      <p:ext uri="{BB962C8B-B14F-4D97-AF65-F5344CB8AC3E}">
        <p14:creationId xmlns:p14="http://schemas.microsoft.com/office/powerpoint/2010/main" val="226325486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0924B3-C5EE-4FC9-8F43-9A5BBF9DA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0924B3-C5EE-4FC9-8F43-9A5BBF9DA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0F3D735-4D83-409B-B861-EB3A61660E83}"/>
              </a:ext>
            </a:extLst>
          </p:cNvPr>
          <p:cNvSpPr txBox="1"/>
          <p:nvPr/>
        </p:nvSpPr>
        <p:spPr>
          <a:xfrm>
            <a:off x="562114" y="468601"/>
            <a:ext cx="11252200" cy="6890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GB" sz="1700" b="1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ntrepreneurship education in bioeconomy-relevant vocational education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GB" sz="1700" b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learly available in a quarter of VET programmes</a:t>
            </a:r>
          </a:p>
        </p:txBody>
      </p:sp>
      <p:sp>
        <p:nvSpPr>
          <p:cNvPr id="9" name="CasellaDiTesto 2">
            <a:extLst>
              <a:ext uri="{FF2B5EF4-FFF2-40B4-BE49-F238E27FC236}">
                <a16:creationId xmlns:a16="http://schemas.microsoft.com/office/drawing/2014/main" id="{36D98459-C6F5-43C2-859F-B647B26AC00E}"/>
              </a:ext>
            </a:extLst>
          </p:cNvPr>
          <p:cNvSpPr txBox="1"/>
          <p:nvPr/>
        </p:nvSpPr>
        <p:spPr>
          <a:xfrm>
            <a:off x="9994069" y="3112423"/>
            <a:ext cx="151475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>
                <a:solidFill>
                  <a:srgbClr val="186751"/>
                </a:solidFill>
              </a:rPr>
              <a:t>n = 295 study programmes in 10 countries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D9B560A-FC7D-9AC9-2F31-AED2E159A6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95492" y="1574359"/>
            <a:ext cx="6310932" cy="4021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04631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0924B3-C5EE-4FC9-8F43-9A5BBF9DA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0924B3-C5EE-4FC9-8F43-9A5BBF9DA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0F3D735-4D83-409B-B861-EB3A61660E83}"/>
              </a:ext>
            </a:extLst>
          </p:cNvPr>
          <p:cNvSpPr txBox="1"/>
          <p:nvPr/>
        </p:nvSpPr>
        <p:spPr>
          <a:xfrm>
            <a:off x="530308" y="492455"/>
            <a:ext cx="11252200" cy="6890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GB" sz="1700" b="1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ntrepreneurship in vocational education – by country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GB" sz="1700" b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ast differences, no clear West-East gap (as in HE)</a:t>
            </a:r>
          </a:p>
        </p:txBody>
      </p:sp>
      <p:sp>
        <p:nvSpPr>
          <p:cNvPr id="10" name="CasellaDiTesto 2">
            <a:extLst>
              <a:ext uri="{FF2B5EF4-FFF2-40B4-BE49-F238E27FC236}">
                <a16:creationId xmlns:a16="http://schemas.microsoft.com/office/drawing/2014/main" id="{1B533875-5550-41ED-ABDE-C6AFBB9DCD84}"/>
              </a:ext>
            </a:extLst>
          </p:cNvPr>
          <p:cNvSpPr txBox="1"/>
          <p:nvPr/>
        </p:nvSpPr>
        <p:spPr>
          <a:xfrm>
            <a:off x="9994069" y="3112423"/>
            <a:ext cx="15147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>
                <a:solidFill>
                  <a:srgbClr val="186751"/>
                </a:solidFill>
              </a:rPr>
              <a:t>n = 295 study programmes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6A7869B-4E83-1E12-1062-0D58D6B90F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6206" y="1329283"/>
            <a:ext cx="8205746" cy="5131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14268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0924B3-C5EE-4FC9-8F43-9A5BBF9DA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0924B3-C5EE-4FC9-8F43-9A5BBF9DA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2765F1C-0A82-4037-8615-653073E2EE01}"/>
              </a:ext>
            </a:extLst>
          </p:cNvPr>
          <p:cNvSpPr txBox="1"/>
          <p:nvPr/>
        </p:nvSpPr>
        <p:spPr>
          <a:xfrm>
            <a:off x="1616597" y="2939677"/>
            <a:ext cx="895880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b="1">
                <a:solidFill>
                  <a:srgbClr val="86BC25"/>
                </a:solidFill>
              </a:rPr>
              <a:t>Case studies</a:t>
            </a:r>
          </a:p>
        </p:txBody>
      </p:sp>
    </p:spTree>
    <p:extLst>
      <p:ext uri="{BB962C8B-B14F-4D97-AF65-F5344CB8AC3E}">
        <p14:creationId xmlns:p14="http://schemas.microsoft.com/office/powerpoint/2010/main" val="189059446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7BB72B0-EF6C-4E63-BDFE-CA480DADD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7BB72B0-EF6C-4E63-BDFE-CA480DADD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2CA999ED-7EF5-2DCE-B440-62FCF3173903}"/>
              </a:ext>
            </a:extLst>
          </p:cNvPr>
          <p:cNvSpPr txBox="1"/>
          <p:nvPr/>
        </p:nvSpPr>
        <p:spPr>
          <a:xfrm>
            <a:off x="518922" y="456494"/>
            <a:ext cx="9576424" cy="577081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n-US" sz="1600" b="1">
                <a:solidFill>
                  <a:schemeClr val="tx1"/>
                </a:solidFill>
                <a:effectLst/>
              </a:rPr>
              <a:t>Wageningen University &amp; Research, the Netherlands</a:t>
            </a:r>
            <a:r>
              <a:rPr lang="en-US" sz="1600" b="0">
                <a:solidFill>
                  <a:schemeClr val="tx1"/>
                </a:solidFill>
                <a:effectLst/>
              </a:rPr>
              <a:t>: Tracks in entrepreneurship.</a:t>
            </a:r>
          </a:p>
          <a:p>
            <a:pPr algn="just">
              <a:spcAft>
                <a:spcPts val="600"/>
              </a:spcAft>
            </a:pPr>
            <a:r>
              <a:rPr lang="en-US" sz="1600" b="0">
                <a:solidFill>
                  <a:schemeClr val="tx1"/>
                </a:solidFill>
                <a:effectLst/>
              </a:rPr>
              <a:t>Tracks for bachelor and master students as well as courses for PhD students. Plus extra-curricular events, mentoring, coaching, student challenges, makerspace, ...</a:t>
            </a:r>
          </a:p>
          <a:p>
            <a:pPr algn="just">
              <a:spcAft>
                <a:spcPts val="600"/>
              </a:spcAft>
            </a:pPr>
            <a:r>
              <a:rPr lang="en-US" sz="1600" b="0">
                <a:solidFill>
                  <a:schemeClr val="tx1"/>
                </a:solidFill>
                <a:effectLst/>
              </a:rPr>
              <a:t> </a:t>
            </a:r>
            <a:endParaRPr lang="de-DE" sz="1600" b="0">
              <a:solidFill>
                <a:schemeClr val="tx1"/>
              </a:solidFill>
              <a:effectLst/>
            </a:endParaRPr>
          </a:p>
          <a:p>
            <a:pPr algn="just">
              <a:spcAft>
                <a:spcPts val="600"/>
              </a:spcAft>
            </a:pPr>
            <a:r>
              <a:rPr lang="en-US" sz="1600" b="1">
                <a:solidFill>
                  <a:schemeClr val="tx1"/>
                </a:solidFill>
                <a:effectLst/>
              </a:rPr>
              <a:t>EIT Food</a:t>
            </a:r>
            <a:r>
              <a:rPr lang="en-US" sz="1600" b="0">
                <a:solidFill>
                  <a:schemeClr val="tx1"/>
                </a:solidFill>
                <a:effectLst/>
              </a:rPr>
              <a:t>: Master’s in Food Systems.</a:t>
            </a:r>
          </a:p>
          <a:p>
            <a:pPr algn="just">
              <a:spcAft>
                <a:spcPts val="600"/>
              </a:spcAft>
            </a:pPr>
            <a:r>
              <a:rPr lang="en-US" sz="1600" b="0">
                <a:solidFill>
                  <a:schemeClr val="tx1"/>
                </a:solidFill>
                <a:effectLst/>
              </a:rPr>
              <a:t>All-encompassing approach, considering entrepreneurial thinking and action from selection of participants via learning objectives, methods, study content through to master’s thesis. </a:t>
            </a:r>
          </a:p>
          <a:p>
            <a:pPr algn="just">
              <a:spcAft>
                <a:spcPts val="600"/>
              </a:spcAft>
            </a:pPr>
            <a:endParaRPr lang="de-DE" sz="1600" b="0">
              <a:solidFill>
                <a:schemeClr val="tx1"/>
              </a:solidFill>
              <a:effectLst/>
            </a:endParaRPr>
          </a:p>
          <a:p>
            <a:pPr algn="just">
              <a:spcAft>
                <a:spcPts val="600"/>
              </a:spcAft>
            </a:pPr>
            <a:r>
              <a:rPr lang="en-US" sz="1600" b="1">
                <a:solidFill>
                  <a:schemeClr val="tx1"/>
                </a:solidFill>
                <a:effectLst/>
              </a:rPr>
              <a:t>Technician School and High School for Agriculture Triesdorf, Germany.</a:t>
            </a:r>
          </a:p>
          <a:p>
            <a:pPr algn="just">
              <a:spcAft>
                <a:spcPts val="600"/>
              </a:spcAft>
            </a:pPr>
            <a:r>
              <a:rPr lang="en-US" sz="1600" b="0">
                <a:solidFill>
                  <a:schemeClr val="tx1"/>
                </a:solidFill>
                <a:effectLst/>
              </a:rPr>
              <a:t>Training for running a farm, conventional and ecological. Education very practice-oriented, including writing a business plan on a real-life case. </a:t>
            </a:r>
            <a:endParaRPr lang="de-DE" sz="1600" b="0">
              <a:solidFill>
                <a:schemeClr val="tx1"/>
              </a:solidFill>
              <a:effectLst/>
            </a:endParaRPr>
          </a:p>
          <a:p>
            <a:pPr algn="just">
              <a:spcAft>
                <a:spcPts val="600"/>
              </a:spcAft>
            </a:pPr>
            <a:endParaRPr lang="en-US" sz="1600" b="0">
              <a:solidFill>
                <a:schemeClr val="tx1"/>
              </a:solidFill>
              <a:effectLst/>
            </a:endParaRPr>
          </a:p>
          <a:p>
            <a:pPr algn="just">
              <a:spcAft>
                <a:spcPts val="600"/>
              </a:spcAft>
            </a:pPr>
            <a:r>
              <a:rPr lang="en-US" sz="1600" b="1">
                <a:solidFill>
                  <a:schemeClr val="tx1"/>
                </a:solidFill>
                <a:effectLst/>
              </a:rPr>
              <a:t>University of Sofia, Bulgaria</a:t>
            </a:r>
            <a:r>
              <a:rPr lang="en-US" sz="1600" b="0">
                <a:solidFill>
                  <a:schemeClr val="tx1"/>
                </a:solidFill>
                <a:effectLst/>
              </a:rPr>
              <a:t>: Master’s in Sustainable and Responsible Governance.</a:t>
            </a:r>
          </a:p>
          <a:p>
            <a:pPr algn="just">
              <a:spcAft>
                <a:spcPts val="600"/>
              </a:spcAft>
            </a:pPr>
            <a:r>
              <a:rPr lang="en-US" sz="1600"/>
              <a:t>T</a:t>
            </a:r>
            <a:r>
              <a:rPr lang="en-US" sz="1600" b="0">
                <a:solidFill>
                  <a:schemeClr val="tx1"/>
                </a:solidFill>
                <a:effectLst/>
              </a:rPr>
              <a:t>rains a new type of specialist in sustainable business development and corporate social responsibility for public and private sectors. </a:t>
            </a:r>
            <a:endParaRPr lang="de-DE" sz="1600" b="0">
              <a:solidFill>
                <a:schemeClr val="tx1"/>
              </a:solidFill>
              <a:effectLst/>
            </a:endParaRPr>
          </a:p>
          <a:p>
            <a:pPr algn="just">
              <a:spcAft>
                <a:spcPts val="600"/>
              </a:spcAft>
            </a:pPr>
            <a:endParaRPr lang="en-US" sz="1600" b="0">
              <a:solidFill>
                <a:schemeClr val="tx1"/>
              </a:solidFill>
              <a:effectLst/>
            </a:endParaRPr>
          </a:p>
          <a:p>
            <a:pPr algn="just">
              <a:spcAft>
                <a:spcPts val="600"/>
              </a:spcAft>
            </a:pPr>
            <a:r>
              <a:rPr lang="en-US" sz="1600" b="1">
                <a:solidFill>
                  <a:schemeClr val="tx1"/>
                </a:solidFill>
                <a:effectLst/>
              </a:rPr>
              <a:t>University of Tartu, Estonia</a:t>
            </a:r>
            <a:r>
              <a:rPr lang="en-US" sz="1600" b="0">
                <a:solidFill>
                  <a:schemeClr val="tx1"/>
                </a:solidFill>
                <a:effectLst/>
              </a:rPr>
              <a:t>: Master’s in Biology and Eco-innovation. </a:t>
            </a:r>
          </a:p>
          <a:p>
            <a:pPr algn="just">
              <a:spcAft>
                <a:spcPts val="600"/>
              </a:spcAft>
            </a:pPr>
            <a:r>
              <a:rPr lang="en-US" sz="1600" b="0">
                <a:solidFill>
                  <a:schemeClr val="tx1"/>
                </a:solidFill>
                <a:effectLst/>
              </a:rPr>
              <a:t>The curriculum combines knowledge about nature, society and the economy and trains young people to become green entrepreneurs or advisors.</a:t>
            </a:r>
          </a:p>
        </p:txBody>
      </p:sp>
      <p:pic>
        <p:nvPicPr>
          <p:cNvPr id="2" name="Picture 255">
            <a:extLst>
              <a:ext uri="{FF2B5EF4-FFF2-40B4-BE49-F238E27FC236}">
                <a16:creationId xmlns:a16="http://schemas.microsoft.com/office/drawing/2014/main" id="{204E5A8C-F024-1132-55CE-E3CB8C032BA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1057" y="608344"/>
            <a:ext cx="1661795" cy="5365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53">
            <a:extLst>
              <a:ext uri="{FF2B5EF4-FFF2-40B4-BE49-F238E27FC236}">
                <a16:creationId xmlns:a16="http://schemas.microsoft.com/office/drawing/2014/main" id="{A2206F5B-F138-AC7E-A580-99A27334F06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88" t="11375" r="72221" b="79893"/>
          <a:stretch>
            <a:fillRect/>
          </a:stretch>
        </p:blipFill>
        <p:spPr bwMode="auto">
          <a:xfrm>
            <a:off x="10259322" y="1760634"/>
            <a:ext cx="1573530" cy="88773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251" descr="Landwirtschaftliche Lehranstalten Triesdorf">
            <a:extLst>
              <a:ext uri="{FF2B5EF4-FFF2-40B4-BE49-F238E27FC236}">
                <a16:creationId xmlns:a16="http://schemas.microsoft.com/office/drawing/2014/main" id="{34969612-28FD-3D32-085C-AB4918659A5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9656" y="2924386"/>
            <a:ext cx="1204595" cy="835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250" descr="Ein Bild, das Text enthält.&#10;&#10;Automatisch generierte Beschreibung">
            <a:extLst>
              <a:ext uri="{FF2B5EF4-FFF2-40B4-BE49-F238E27FC236}">
                <a16:creationId xmlns:a16="http://schemas.microsoft.com/office/drawing/2014/main" id="{57F56861-84FC-776D-EC59-71D3035A639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62" t="7408" r="66270" b="82010"/>
          <a:stretch>
            <a:fillRect/>
          </a:stretch>
        </p:blipFill>
        <p:spPr bwMode="auto">
          <a:xfrm>
            <a:off x="10558089" y="4209637"/>
            <a:ext cx="975995" cy="76517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256" descr="Ein Bild, das Text enthält.&#10;&#10;Automatisch generierte Beschreibung">
            <a:extLst>
              <a:ext uri="{FF2B5EF4-FFF2-40B4-BE49-F238E27FC236}">
                <a16:creationId xmlns:a16="http://schemas.microsoft.com/office/drawing/2014/main" id="{7BB52866-B7B5-5379-FD69-4643270EC39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2" t="7945" r="86719" b="88887"/>
          <a:stretch>
            <a:fillRect/>
          </a:stretch>
        </p:blipFill>
        <p:spPr bwMode="auto">
          <a:xfrm>
            <a:off x="10259322" y="5598422"/>
            <a:ext cx="1717040" cy="3524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9630671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0924B3-C5EE-4FC9-8F43-9A5BBF9DA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0924B3-C5EE-4FC9-8F43-9A5BBF9DA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2765F1C-0A82-4037-8615-653073E2EE01}"/>
              </a:ext>
            </a:extLst>
          </p:cNvPr>
          <p:cNvSpPr txBox="1"/>
          <p:nvPr/>
        </p:nvSpPr>
        <p:spPr>
          <a:xfrm>
            <a:off x="1616597" y="2939677"/>
            <a:ext cx="8958806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b="1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rPr>
              <a:t>Recommendations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en-GB" b="1">
                <a:solidFill>
                  <a:srgbClr val="313131"/>
                </a:solidFill>
              </a:rPr>
              <a:t>to decision makers </a:t>
            </a:r>
          </a:p>
        </p:txBody>
      </p:sp>
    </p:spTree>
    <p:extLst>
      <p:ext uri="{BB962C8B-B14F-4D97-AF65-F5344CB8AC3E}">
        <p14:creationId xmlns:p14="http://schemas.microsoft.com/office/powerpoint/2010/main" val="176270521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0924B3-C5EE-4FC9-8F43-9A5BBF9DA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0924B3-C5EE-4FC9-8F43-9A5BBF9DA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0F3D735-4D83-409B-B861-EB3A61660E83}"/>
              </a:ext>
            </a:extLst>
          </p:cNvPr>
          <p:cNvSpPr txBox="1"/>
          <p:nvPr/>
        </p:nvSpPr>
        <p:spPr>
          <a:xfrm>
            <a:off x="737042" y="481054"/>
            <a:ext cx="10450444" cy="566225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GB" sz="1700" b="1" dirty="0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rPr>
              <a:t>Recommendations to decision makers 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endParaRPr lang="en-GB" sz="1700" b="1" dirty="0">
              <a:solidFill>
                <a:schemeClr val="accent1"/>
              </a:solidFill>
              <a:latin typeface="+mj-lt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en-GB" sz="1700" dirty="0">
                <a:effectLst/>
                <a:latin typeface="+mj-lt"/>
                <a:ea typeface="Calibri"/>
                <a:cs typeface="Times New Roman"/>
              </a:rPr>
              <a:t>– On </a:t>
            </a:r>
            <a:r>
              <a:rPr lang="en-GB" sz="1700" dirty="0">
                <a:latin typeface="+mj-lt"/>
                <a:ea typeface="Calibri"/>
                <a:cs typeface="Times New Roman"/>
              </a:rPr>
              <a:t>European, national, </a:t>
            </a:r>
            <a:r>
              <a:rPr lang="en-GB" sz="1700" dirty="0">
                <a:effectLst/>
                <a:latin typeface="+mj-lt"/>
                <a:ea typeface="Calibri"/>
                <a:cs typeface="Times New Roman"/>
              </a:rPr>
              <a:t>regional, </a:t>
            </a:r>
            <a:r>
              <a:rPr lang="en-GB" sz="1700" dirty="0">
                <a:latin typeface="+mj-lt"/>
                <a:ea typeface="Calibri"/>
                <a:cs typeface="Times New Roman"/>
              </a:rPr>
              <a:t>local</a:t>
            </a:r>
            <a:r>
              <a:rPr lang="en-GB" sz="1700" dirty="0">
                <a:effectLst/>
                <a:latin typeface="+mj-lt"/>
                <a:ea typeface="Calibri"/>
                <a:cs typeface="Times New Roman"/>
              </a:rPr>
              <a:t> level</a:t>
            </a: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en-GB" sz="1700" dirty="0">
                <a:effectLst/>
                <a:latin typeface="+mj-lt"/>
                <a:ea typeface="Calibri"/>
                <a:cs typeface="Times New Roman"/>
              </a:rPr>
              <a:t>– </a:t>
            </a:r>
            <a:r>
              <a:rPr lang="en-GB" sz="1700" dirty="0">
                <a:latin typeface="+mj-lt"/>
                <a:ea typeface="Calibri"/>
                <a:cs typeface="Times New Roman"/>
              </a:rPr>
              <a:t>In governments, education institutions, civil society organisations</a:t>
            </a: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en-GB" sz="1700" dirty="0">
                <a:effectLst/>
                <a:latin typeface="+mj-lt"/>
                <a:ea typeface="Calibri"/>
                <a:cs typeface="Times New Roman"/>
              </a:rPr>
              <a:t>– </a:t>
            </a:r>
            <a:r>
              <a:rPr lang="en-GB" sz="1700" dirty="0">
                <a:latin typeface="+mj-lt"/>
                <a:ea typeface="Calibri"/>
                <a:cs typeface="Times New Roman"/>
              </a:rPr>
              <a:t>Overall objective: every bioeconomy student should encounter entrepreneurship</a:t>
            </a: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endParaRPr lang="en-GB" sz="1700" dirty="0">
              <a:effectLst/>
              <a:latin typeface="+mj-lt"/>
              <a:ea typeface="Calibri"/>
              <a:cs typeface="Times New Roman"/>
            </a:endParaRPr>
          </a:p>
          <a:p>
            <a:pPr marL="342900" indent="-342900" algn="just">
              <a:lnSpc>
                <a:spcPct val="150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GB" sz="1700" b="1" dirty="0">
                <a:effectLst/>
                <a:latin typeface="+mj-lt"/>
                <a:ea typeface="Calibri"/>
                <a:cs typeface="Times New Roman"/>
              </a:rPr>
              <a:t>Guidance</a:t>
            </a:r>
            <a:r>
              <a:rPr lang="en-GB" sz="1700" dirty="0">
                <a:effectLst/>
                <a:latin typeface="+mj-lt"/>
                <a:ea typeface="Calibri"/>
                <a:cs typeface="Times New Roman"/>
              </a:rPr>
              <a:t>: Include </a:t>
            </a:r>
            <a:r>
              <a:rPr lang="en-GB" sz="1700" dirty="0">
                <a:latin typeface="+mj-lt"/>
                <a:ea typeface="Calibri"/>
                <a:cs typeface="Times New Roman"/>
              </a:rPr>
              <a:t>entrepreneurship education in bioeconomy strategies </a:t>
            </a:r>
            <a:r>
              <a:rPr lang="en-GB" sz="1700" dirty="0">
                <a:effectLst/>
                <a:latin typeface="+mj-lt"/>
                <a:ea typeface="Calibri"/>
                <a:cs typeface="Times New Roman"/>
              </a:rPr>
              <a:t>and roadmaps</a:t>
            </a:r>
          </a:p>
          <a:p>
            <a:pPr marL="342900" indent="-342900" algn="just">
              <a:lnSpc>
                <a:spcPct val="150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GB" sz="1700" b="1" dirty="0">
                <a:effectLst/>
                <a:latin typeface="+mj-lt"/>
                <a:ea typeface="Calibri"/>
                <a:cs typeface="Times New Roman"/>
              </a:rPr>
              <a:t>Teaching</a:t>
            </a:r>
            <a:r>
              <a:rPr lang="en-GB" sz="1700" dirty="0">
                <a:effectLst/>
                <a:latin typeface="+mj-lt"/>
                <a:ea typeface="Calibri"/>
                <a:cs typeface="Times New Roman"/>
              </a:rPr>
              <a:t>: Assure more and </a:t>
            </a:r>
            <a:r>
              <a:rPr lang="en-GB" sz="1700" dirty="0">
                <a:latin typeface="+mj-lt"/>
                <a:ea typeface="Calibri"/>
                <a:cs typeface="Times New Roman"/>
              </a:rPr>
              <a:t>high-quality entrepreneurship teaching in </a:t>
            </a:r>
            <a:r>
              <a:rPr lang="en-GB" sz="1700" dirty="0">
                <a:effectLst/>
                <a:latin typeface="+mj-lt"/>
                <a:ea typeface="Calibri"/>
                <a:cs typeface="Times New Roman"/>
              </a:rPr>
              <a:t>bioeconomy studies</a:t>
            </a:r>
            <a:endParaRPr lang="en-GB" sz="1700" dirty="0">
              <a:latin typeface="+mj-lt"/>
              <a:ea typeface="Calibri"/>
              <a:cs typeface="Times New Roman"/>
            </a:endParaRPr>
          </a:p>
          <a:p>
            <a:pPr marL="342900" indent="-342900" algn="just">
              <a:lnSpc>
                <a:spcPct val="150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GB" sz="1700" b="1" dirty="0">
                <a:effectLst/>
                <a:latin typeface="+mj-lt"/>
                <a:ea typeface="Calibri"/>
                <a:cs typeface="Times New Roman"/>
              </a:rPr>
              <a:t>Extra-curricular offers</a:t>
            </a:r>
            <a:r>
              <a:rPr lang="en-GB" sz="1700" dirty="0">
                <a:effectLst/>
                <a:latin typeface="+mj-lt"/>
                <a:ea typeface="Calibri"/>
                <a:cs typeface="Times New Roman"/>
              </a:rPr>
              <a:t>: Assure support to entrepreneurial bioeconomy students</a:t>
            </a:r>
          </a:p>
          <a:p>
            <a:pPr marL="342900" indent="-342900" algn="just">
              <a:lnSpc>
                <a:spcPct val="150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GB" sz="1700" b="1" dirty="0">
                <a:effectLst/>
                <a:latin typeface="+mj-lt"/>
                <a:ea typeface="Calibri"/>
                <a:cs typeface="Times New Roman"/>
              </a:rPr>
              <a:t>Networking</a:t>
            </a:r>
            <a:r>
              <a:rPr lang="en-GB" sz="1700" dirty="0">
                <a:effectLst/>
                <a:latin typeface="+mj-lt"/>
                <a:ea typeface="Calibri"/>
                <a:cs typeface="Times New Roman"/>
              </a:rPr>
              <a:t>: Encourage cooperation on entrepreneurship education in bioeconomy studies</a:t>
            </a:r>
            <a:endParaRPr lang="en-GB" sz="1700" dirty="0">
              <a:latin typeface="+mj-lt"/>
              <a:ea typeface="Calibri"/>
              <a:cs typeface="Times New Roman"/>
            </a:endParaRPr>
          </a:p>
          <a:p>
            <a:pPr marL="342900" indent="-342900" algn="just">
              <a:lnSpc>
                <a:spcPct val="150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GB" sz="1700" b="1" dirty="0">
                <a:effectLst/>
                <a:latin typeface="+mj-lt"/>
                <a:ea typeface="Calibri"/>
                <a:cs typeface="Times New Roman"/>
              </a:rPr>
              <a:t>Raise awareness</a:t>
            </a:r>
            <a:r>
              <a:rPr lang="en-GB" sz="1700" dirty="0">
                <a:effectLst/>
                <a:latin typeface="+mj-lt"/>
                <a:ea typeface="Calibri"/>
                <a:cs typeface="Times New Roman"/>
              </a:rPr>
              <a:t>: Communicate benefits of entrepreneurship education for bioeconomy</a:t>
            </a:r>
          </a:p>
          <a:p>
            <a:pPr marL="342900" indent="-342900" algn="just">
              <a:lnSpc>
                <a:spcPct val="150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GB" sz="1700" b="1" dirty="0">
                <a:effectLst/>
                <a:latin typeface="+mj-lt"/>
                <a:ea typeface="Calibri"/>
                <a:cs typeface="Times New Roman"/>
              </a:rPr>
              <a:t>Research</a:t>
            </a:r>
            <a:r>
              <a:rPr lang="en-GB" sz="1700" dirty="0">
                <a:effectLst/>
                <a:latin typeface="+mj-lt"/>
                <a:ea typeface="Calibri"/>
                <a:cs typeface="Times New Roman"/>
              </a:rPr>
              <a:t>: Monitor and compare entrepreneurship education in bioeconomy across Europe</a:t>
            </a:r>
          </a:p>
        </p:txBody>
      </p:sp>
    </p:spTree>
    <p:extLst>
      <p:ext uri="{BB962C8B-B14F-4D97-AF65-F5344CB8AC3E}">
        <p14:creationId xmlns:p14="http://schemas.microsoft.com/office/powerpoint/2010/main" val="2034500990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0924B3-C5EE-4FC9-8F43-9A5BBF9DA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0924B3-C5EE-4FC9-8F43-9A5BBF9DA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2765F1C-0A82-4037-8615-653073E2EE01}"/>
              </a:ext>
            </a:extLst>
          </p:cNvPr>
          <p:cNvSpPr txBox="1"/>
          <p:nvPr/>
        </p:nvSpPr>
        <p:spPr>
          <a:xfrm>
            <a:off x="1616597" y="2414891"/>
            <a:ext cx="8958806" cy="12618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b="1">
                <a:latin typeface="+mj-lt"/>
                <a:cs typeface="Times New Roman" panose="02020603050405020304" pitchFamily="18" charset="0"/>
              </a:rPr>
              <a:t>Get back for more details:</a:t>
            </a:r>
          </a:p>
          <a:p>
            <a:pPr algn="ctr">
              <a:spcBef>
                <a:spcPts val="600"/>
              </a:spcBef>
              <a:buSzPct val="100000"/>
            </a:pPr>
            <a:endParaRPr lang="en-GB" b="1">
              <a:latin typeface="+mj-lt"/>
              <a:cs typeface="Times New Roman" panose="02020603050405020304" pitchFamily="18" charset="0"/>
            </a:endParaRPr>
          </a:p>
          <a:p>
            <a:pPr algn="ctr">
              <a:spcBef>
                <a:spcPts val="600"/>
              </a:spcBef>
              <a:buSzPct val="100000"/>
            </a:pPr>
            <a:r>
              <a:rPr lang="en-GB" b="1">
                <a:solidFill>
                  <a:schemeClr val="accent1"/>
                </a:solidFill>
                <a:latin typeface="+mj-lt"/>
                <a:cs typeface="Times New Roman" panose="02020603050405020304" pitchFamily="18" charset="0"/>
              </a:rPr>
              <a:t>Stefan.Lilischkis@empirica.com</a:t>
            </a:r>
          </a:p>
        </p:txBody>
      </p:sp>
    </p:spTree>
    <p:extLst>
      <p:ext uri="{BB962C8B-B14F-4D97-AF65-F5344CB8AC3E}">
        <p14:creationId xmlns:p14="http://schemas.microsoft.com/office/powerpoint/2010/main" val="314903116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F1BF69FB-E0A2-91EF-0B48-07B6F1B30D70}"/>
              </a:ext>
            </a:extLst>
          </p:cNvPr>
          <p:cNvSpPr txBox="1"/>
          <p:nvPr/>
        </p:nvSpPr>
        <p:spPr>
          <a:xfrm>
            <a:off x="556740" y="961221"/>
            <a:ext cx="11252200" cy="4209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US" sz="17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 project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US" sz="1700" b="1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omote education, training and skills across the bioeconomy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endParaRPr lang="en-US" sz="1700" b="1" dirty="0">
              <a:solidFill>
                <a:schemeClr val="accent1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en-GB" sz="1800" b="1" dirty="0"/>
              <a:t>Client</a:t>
            </a:r>
            <a:r>
              <a:rPr lang="en-GB" sz="1800" dirty="0"/>
              <a:t>: DG RTD</a:t>
            </a:r>
          </a:p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en-GB" sz="1800" b="1" dirty="0"/>
              <a:t>Duration</a:t>
            </a:r>
            <a:r>
              <a:rPr lang="en-GB" sz="1800" dirty="0"/>
              <a:t>: 6/2021 – 9/2022</a:t>
            </a:r>
          </a:p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en-GB" sz="1800" b="1" dirty="0"/>
              <a:t>Partners</a:t>
            </a:r>
            <a:r>
              <a:rPr lang="en-GB" sz="1800" dirty="0"/>
              <a:t>: Deloitte, empirica, FGB</a:t>
            </a:r>
          </a:p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en-GB" sz="1800" b="1" dirty="0"/>
              <a:t>Task</a:t>
            </a:r>
            <a:r>
              <a:rPr lang="en-GB" sz="1800" dirty="0"/>
              <a:t> on entrepreneurship education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GB" sz="1800" b="1" dirty="0"/>
              <a:t>Objective</a:t>
            </a:r>
            <a:r>
              <a:rPr lang="en-GB" sz="1800" dirty="0"/>
              <a:t>: Availability of EE in bioeconomy-relevant study programmes (10 countries)</a:t>
            </a:r>
          </a:p>
          <a:p>
            <a:pPr>
              <a:lnSpc>
                <a:spcPct val="100000"/>
              </a:lnSpc>
            </a:pPr>
            <a:r>
              <a:rPr lang="en-GB" sz="1800" dirty="0"/>
              <a:t> </a:t>
            </a:r>
            <a:r>
              <a:rPr lang="en-GB" sz="1800" dirty="0">
                <a:sym typeface="Wingdings" panose="05000000000000000000" pitchFamily="2" charset="2"/>
              </a:rPr>
              <a:t> </a:t>
            </a:r>
            <a:r>
              <a:rPr lang="en-GB" sz="1800" dirty="0"/>
              <a:t>Curricula, extra-curricular activities, other means</a:t>
            </a:r>
          </a:p>
        </p:txBody>
      </p:sp>
    </p:spTree>
    <p:extLst>
      <p:ext uri="{BB962C8B-B14F-4D97-AF65-F5344CB8AC3E}">
        <p14:creationId xmlns:p14="http://schemas.microsoft.com/office/powerpoint/2010/main" val="366999522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0924B3-C5EE-4FC9-8F43-9A5BBF9DA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0924B3-C5EE-4FC9-8F43-9A5BBF9DA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2765F1C-0A82-4037-8615-653073E2EE01}"/>
              </a:ext>
            </a:extLst>
          </p:cNvPr>
          <p:cNvSpPr txBox="1"/>
          <p:nvPr/>
        </p:nvSpPr>
        <p:spPr>
          <a:xfrm>
            <a:off x="1616597" y="2677284"/>
            <a:ext cx="8958806" cy="17081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GB" b="1">
                <a:solidFill>
                  <a:srgbClr val="313131"/>
                </a:solidFill>
              </a:rPr>
              <a:t>Findings from mapping 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en-GB" b="1"/>
              <a:t>bioeconomy-relevant 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en-GB" b="1">
                <a:solidFill>
                  <a:srgbClr val="86BC25"/>
                </a:solidFill>
              </a:rPr>
              <a:t>higher education 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en-GB" b="1">
                <a:solidFill>
                  <a:srgbClr val="313131"/>
                </a:solidFill>
              </a:rPr>
              <a:t>programmes </a:t>
            </a:r>
          </a:p>
        </p:txBody>
      </p:sp>
    </p:spTree>
    <p:extLst>
      <p:ext uri="{BB962C8B-B14F-4D97-AF65-F5344CB8AC3E}">
        <p14:creationId xmlns:p14="http://schemas.microsoft.com/office/powerpoint/2010/main" val="309979816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0924B3-C5EE-4FC9-8F43-9A5BBF9DA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0924B3-C5EE-4FC9-8F43-9A5BBF9DA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0F3D735-4D83-409B-B861-EB3A61660E83}"/>
              </a:ext>
            </a:extLst>
          </p:cNvPr>
          <p:cNvSpPr txBox="1"/>
          <p:nvPr/>
        </p:nvSpPr>
        <p:spPr>
          <a:xfrm>
            <a:off x="620976" y="433061"/>
            <a:ext cx="11252200" cy="11378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GB" sz="1700" b="1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ntrepreneurship education in bioeconomy higher education - by study level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GB" sz="1700" b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alf have none – mostly in passing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GB" sz="180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CasellaDiTesto 2">
            <a:extLst>
              <a:ext uri="{FF2B5EF4-FFF2-40B4-BE49-F238E27FC236}">
                <a16:creationId xmlns:a16="http://schemas.microsoft.com/office/drawing/2014/main" id="{20C58B9F-9B2C-49BE-A273-FBED44F01297}"/>
              </a:ext>
            </a:extLst>
          </p:cNvPr>
          <p:cNvSpPr txBox="1"/>
          <p:nvPr/>
        </p:nvSpPr>
        <p:spPr>
          <a:xfrm>
            <a:off x="10084685" y="3167390"/>
            <a:ext cx="15147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>
                <a:solidFill>
                  <a:srgbClr val="186751"/>
                </a:solidFill>
              </a:rPr>
              <a:t>n = 640 study programmes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3258BA4-A5C4-0B32-7319-D4C494DB695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6679"/>
          <a:stretch/>
        </p:blipFill>
        <p:spPr>
          <a:xfrm>
            <a:off x="1081172" y="1622066"/>
            <a:ext cx="8498440" cy="4332566"/>
          </a:xfrm>
          <a:prstGeom prst="rect">
            <a:avLst/>
          </a:prstGeom>
        </p:spPr>
      </p:pic>
      <p:sp>
        <p:nvSpPr>
          <p:cNvPr id="2" name="Ellipse 1">
            <a:extLst>
              <a:ext uri="{FF2B5EF4-FFF2-40B4-BE49-F238E27FC236}">
                <a16:creationId xmlns:a16="http://schemas.microsoft.com/office/drawing/2014/main" id="{43D053DA-218C-93A9-3ADB-75796895885C}"/>
              </a:ext>
            </a:extLst>
          </p:cNvPr>
          <p:cNvSpPr/>
          <p:nvPr/>
        </p:nvSpPr>
        <p:spPr bwMode="gray">
          <a:xfrm>
            <a:off x="9072438" y="2592125"/>
            <a:ext cx="437322" cy="437322"/>
          </a:xfrm>
          <a:prstGeom prst="ellipse">
            <a:avLst/>
          </a:prstGeom>
          <a:noFill/>
          <a:ln w="190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9084354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0924B3-C5EE-4FC9-8F43-9A5BBF9DA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0924B3-C5EE-4FC9-8F43-9A5BBF9DA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0F3D735-4D83-409B-B861-EB3A61660E83}"/>
              </a:ext>
            </a:extLst>
          </p:cNvPr>
          <p:cNvSpPr txBox="1"/>
          <p:nvPr/>
        </p:nvSpPr>
        <p:spPr>
          <a:xfrm>
            <a:off x="469900" y="456435"/>
            <a:ext cx="11252200" cy="6890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GB" sz="1700" b="1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ntrepreneurship education in bioeconomy higher education - by country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GB" sz="1700" b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ast differences – no clear West/East gap</a:t>
            </a:r>
          </a:p>
        </p:txBody>
      </p:sp>
      <p:sp>
        <p:nvSpPr>
          <p:cNvPr id="10" name="CasellaDiTesto 2">
            <a:extLst>
              <a:ext uri="{FF2B5EF4-FFF2-40B4-BE49-F238E27FC236}">
                <a16:creationId xmlns:a16="http://schemas.microsoft.com/office/drawing/2014/main" id="{20C58B9F-9B2C-49BE-A273-FBED44F01297}"/>
              </a:ext>
            </a:extLst>
          </p:cNvPr>
          <p:cNvSpPr txBox="1"/>
          <p:nvPr/>
        </p:nvSpPr>
        <p:spPr>
          <a:xfrm>
            <a:off x="9994069" y="3112423"/>
            <a:ext cx="1514758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400">
                <a:solidFill>
                  <a:srgbClr val="186751"/>
                </a:solidFill>
              </a:rPr>
              <a:t>n = 640 study programme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E8E9048-0BAB-422E-4C66-7CE2F42DA3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49287" y="1368856"/>
            <a:ext cx="7694848" cy="5032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590264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0924B3-C5EE-4FC9-8F43-9A5BBF9DA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0924B3-C5EE-4FC9-8F43-9A5BBF9DA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0F3D735-4D83-409B-B861-EB3A61660E83}"/>
              </a:ext>
            </a:extLst>
          </p:cNvPr>
          <p:cNvSpPr txBox="1"/>
          <p:nvPr/>
        </p:nvSpPr>
        <p:spPr>
          <a:xfrm>
            <a:off x="469900" y="456435"/>
            <a:ext cx="11252200" cy="6890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GB" sz="1700" b="1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ntrepreneurship in higher education - by depth of bioeconomy content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GB" sz="1700" b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ostly in dedicated bioeconomy programmes</a:t>
            </a:r>
          </a:p>
        </p:txBody>
      </p:sp>
      <p:sp>
        <p:nvSpPr>
          <p:cNvPr id="10" name="CasellaDiTesto 2">
            <a:extLst>
              <a:ext uri="{FF2B5EF4-FFF2-40B4-BE49-F238E27FC236}">
                <a16:creationId xmlns:a16="http://schemas.microsoft.com/office/drawing/2014/main" id="{20C58B9F-9B2C-49BE-A273-FBED44F01297}"/>
              </a:ext>
            </a:extLst>
          </p:cNvPr>
          <p:cNvSpPr txBox="1"/>
          <p:nvPr/>
        </p:nvSpPr>
        <p:spPr>
          <a:xfrm>
            <a:off x="9994069" y="3112423"/>
            <a:ext cx="1514758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1400">
                <a:solidFill>
                  <a:srgbClr val="186751"/>
                </a:solidFill>
              </a:rPr>
              <a:t>n = 640 study programmes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2E1560C1-4BE7-9DC3-42F5-1D16B9D0A8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59673" y="1459717"/>
            <a:ext cx="8165316" cy="4876819"/>
          </a:xfrm>
          <a:prstGeom prst="rect">
            <a:avLst/>
          </a:prstGeom>
        </p:spPr>
      </p:pic>
      <p:sp>
        <p:nvSpPr>
          <p:cNvPr id="3" name="Ellipse 2">
            <a:extLst>
              <a:ext uri="{FF2B5EF4-FFF2-40B4-BE49-F238E27FC236}">
                <a16:creationId xmlns:a16="http://schemas.microsoft.com/office/drawing/2014/main" id="{AFB1E263-F121-F2AF-DCE1-716F98A49FCB}"/>
              </a:ext>
            </a:extLst>
          </p:cNvPr>
          <p:cNvSpPr/>
          <p:nvPr/>
        </p:nvSpPr>
        <p:spPr bwMode="gray">
          <a:xfrm>
            <a:off x="1296060" y="4762831"/>
            <a:ext cx="2512613" cy="508883"/>
          </a:xfrm>
          <a:prstGeom prst="ellipse">
            <a:avLst/>
          </a:prstGeom>
          <a:noFill/>
          <a:ln w="19050" algn="ctr">
            <a:solidFill>
              <a:srgbClr val="DA291C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71515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0924B3-C5EE-4FC9-8F43-9A5BBF9DA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0924B3-C5EE-4FC9-8F43-9A5BBF9DA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0F3D735-4D83-409B-B861-EB3A61660E83}"/>
              </a:ext>
            </a:extLst>
          </p:cNvPr>
          <p:cNvSpPr txBox="1"/>
          <p:nvPr/>
        </p:nvSpPr>
        <p:spPr>
          <a:xfrm>
            <a:off x="469900" y="540162"/>
            <a:ext cx="11252200" cy="47552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GB" sz="1700" b="1" dirty="0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tra-curricular offers in entrepreneurship for bioeconomy students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GB" sz="17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mportant to motivate entrepreneurial thinking and acting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endParaRPr lang="en-GB" sz="1700" b="1" dirty="0">
              <a:solidFill>
                <a:schemeClr val="accent1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7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ypical: </a:t>
            </a:r>
          </a:p>
          <a:p>
            <a:pPr marL="895335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vents (Start-up days/weeks)</a:t>
            </a:r>
          </a:p>
          <a:p>
            <a:pPr marL="895335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ncounters with entrepreneurs</a:t>
            </a:r>
          </a:p>
          <a:p>
            <a:pPr marL="895335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ersonal advice (consulting, mentoring, coaching how to turn ideas into practice)</a:t>
            </a:r>
            <a:endParaRPr lang="en-GB" sz="1500" dirty="0">
              <a:latin typeface="+mj-lt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GB" sz="1700" dirty="0">
              <a:latin typeface="+mj-lt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700" dirty="0">
                <a:latin typeface="+mj-lt"/>
                <a:cs typeface="Times New Roman" panose="02020603050405020304" pitchFamily="18" charset="0"/>
              </a:rPr>
              <a:t>Bundling and branding helpful</a:t>
            </a:r>
          </a:p>
          <a:p>
            <a:pPr lvl="1" algn="just">
              <a:lnSpc>
                <a:spcPct val="107000"/>
              </a:lnSpc>
              <a:spcAft>
                <a:spcPts val="800"/>
              </a:spcAft>
            </a:pPr>
            <a:r>
              <a:rPr lang="en-GB" sz="1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xamples:</a:t>
            </a:r>
          </a:p>
          <a:p>
            <a:pPr marL="895335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Wageningen </a:t>
            </a:r>
            <a:r>
              <a:rPr lang="en-GB" sz="15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tartHub</a:t>
            </a:r>
            <a:endParaRPr lang="en-GB" sz="15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95335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ohenheim </a:t>
            </a:r>
            <a:r>
              <a:rPr lang="en-GB" sz="1500" dirty="0" err="1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noGreenhouse</a:t>
            </a:r>
            <a:endParaRPr lang="en-GB" sz="15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95335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ienna BOKU:BASE</a:t>
            </a:r>
            <a:endParaRPr lang="en-GB" sz="15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42030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0924B3-C5EE-4FC9-8F43-9A5BBF9DA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0924B3-C5EE-4FC9-8F43-9A5BBF9DA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0F3D735-4D83-409B-B861-EB3A61660E83}"/>
              </a:ext>
            </a:extLst>
          </p:cNvPr>
          <p:cNvSpPr txBox="1"/>
          <p:nvPr/>
        </p:nvSpPr>
        <p:spPr>
          <a:xfrm>
            <a:off x="557364" y="627628"/>
            <a:ext cx="11252200" cy="5684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GB" sz="1700" b="1">
                <a:solidFill>
                  <a:schemeClr val="accent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ther means and networks in bioeconomy entrepreneurship education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r>
              <a:rPr lang="en-GB" sz="1700" b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mportant indirect factors</a:t>
            </a:r>
          </a:p>
          <a:p>
            <a:pPr>
              <a:lnSpc>
                <a:spcPct val="107000"/>
              </a:lnSpc>
              <a:spcAft>
                <a:spcPts val="1200"/>
              </a:spcAft>
            </a:pPr>
            <a:endParaRPr lang="en-GB" sz="1700" b="1">
              <a:solidFill>
                <a:schemeClr val="accent1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7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ultiple other means to foster entrepreneurial mindsets:</a:t>
            </a:r>
            <a:endParaRPr lang="en-GB" sz="170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95335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tudent challenges (competitions)</a:t>
            </a:r>
          </a:p>
          <a:p>
            <a:pPr marL="895335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akerspaces</a:t>
            </a:r>
            <a:endParaRPr lang="en-GB" sz="150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95335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spirational outreach events (e.g. city of the future)</a:t>
            </a:r>
            <a:endParaRPr lang="en-GB" sz="150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95335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hared research facilities</a:t>
            </a:r>
          </a:p>
          <a:p>
            <a:pPr marL="895335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ccompanied story writing</a:t>
            </a:r>
          </a:p>
          <a:p>
            <a:pPr marL="895335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ervice matching (researchers/students provide services to business via platform)</a:t>
            </a:r>
          </a:p>
          <a:p>
            <a:pPr marL="895335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P protection services to students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en-GB" sz="160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6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etworks:</a:t>
            </a:r>
          </a:p>
          <a:p>
            <a:pPr marL="895335" lvl="1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ssociation for European Life Science Universities (ICA) - Special Interest Group </a:t>
            </a:r>
            <a:br>
              <a:rPr lang="en-GB" sz="15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GB" sz="15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ustainable Entrepreneurship Education</a:t>
            </a:r>
          </a:p>
          <a:p>
            <a:pPr marL="895335" lvl="1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50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TRINSIC project: Connected Educator Platform to exchange practices</a:t>
            </a:r>
          </a:p>
        </p:txBody>
      </p:sp>
    </p:spTree>
    <p:extLst>
      <p:ext uri="{BB962C8B-B14F-4D97-AF65-F5344CB8AC3E}">
        <p14:creationId xmlns:p14="http://schemas.microsoft.com/office/powerpoint/2010/main" val="143637361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A0924B3-C5EE-4FC9-8F43-9A5BBF9DAD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A0924B3-C5EE-4FC9-8F43-9A5BBF9DAD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Diagramm 1">
            <a:extLst>
              <a:ext uri="{FF2B5EF4-FFF2-40B4-BE49-F238E27FC236}">
                <a16:creationId xmlns:a16="http://schemas.microsoft.com/office/drawing/2014/main" id="{80F49E74-714A-44F0-A0F2-A74F8AE134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1289194"/>
              </p:ext>
            </p:extLst>
          </p:nvPr>
        </p:nvGraphicFramePr>
        <p:xfrm>
          <a:off x="2021016" y="1115591"/>
          <a:ext cx="8149968" cy="54587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3" name="Pfeil: nach links 2">
            <a:extLst>
              <a:ext uri="{FF2B5EF4-FFF2-40B4-BE49-F238E27FC236}">
                <a16:creationId xmlns:a16="http://schemas.microsoft.com/office/drawing/2014/main" id="{7EBDA00A-8ADF-402C-99AD-CCA596419338}"/>
              </a:ext>
            </a:extLst>
          </p:cNvPr>
          <p:cNvSpPr/>
          <p:nvPr/>
        </p:nvSpPr>
        <p:spPr bwMode="gray">
          <a:xfrm>
            <a:off x="4119513" y="5061998"/>
            <a:ext cx="1423448" cy="923330"/>
          </a:xfrm>
          <a:prstGeom prst="leftArrow">
            <a:avLst/>
          </a:prstGeom>
          <a:solidFill>
            <a:schemeClr val="tx2">
              <a:lumMod val="60000"/>
              <a:lumOff val="4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de-DE" sz="1600" b="1">
              <a:solidFill>
                <a:schemeClr val="bg1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8D5380D-64F1-46BE-B948-356769E96C52}"/>
              </a:ext>
            </a:extLst>
          </p:cNvPr>
          <p:cNvSpPr txBox="1"/>
          <p:nvPr/>
        </p:nvSpPr>
        <p:spPr>
          <a:xfrm>
            <a:off x="1118682" y="4877169"/>
            <a:ext cx="2859430" cy="1286845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wrap="square" lIns="180000" tIns="180000" rIns="180000" bIns="18000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GB" sz="2000" b="1">
                <a:solidFill>
                  <a:schemeClr val="bg1"/>
                </a:solidFill>
              </a:rPr>
              <a:t>Entrepreneurial knowledge, skills and mindset</a:t>
            </a:r>
          </a:p>
        </p:txBody>
      </p:sp>
      <p:sp>
        <p:nvSpPr>
          <p:cNvPr id="7" name="Titel 3">
            <a:extLst>
              <a:ext uri="{FF2B5EF4-FFF2-40B4-BE49-F238E27FC236}">
                <a16:creationId xmlns:a16="http://schemas.microsoft.com/office/drawing/2014/main" id="{627C3A29-3005-4530-811F-8C529EEF474C}"/>
              </a:ext>
            </a:extLst>
          </p:cNvPr>
          <p:cNvSpPr txBox="1">
            <a:spLocks/>
          </p:cNvSpPr>
          <p:nvPr/>
        </p:nvSpPr>
        <p:spPr bwMode="gray">
          <a:xfrm>
            <a:off x="590494" y="283697"/>
            <a:ext cx="11252200" cy="64656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700" b="1">
                <a:solidFill>
                  <a:schemeClr val="accent1"/>
                </a:solidFill>
                <a:cs typeface="Times New Roman" panose="02020603050405020304" pitchFamily="18" charset="0"/>
              </a:rPr>
              <a:t>Entrepreneurship education for bioeconomy</a:t>
            </a:r>
          </a:p>
          <a:p>
            <a:r>
              <a:rPr lang="en-GB" sz="1700" b="1">
                <a:cs typeface="Times New Roman" panose="02020603050405020304" pitchFamily="18" charset="0"/>
              </a:rPr>
              <a:t>Three cogwheels to turn together</a:t>
            </a:r>
            <a:br>
              <a:rPr lang="en-US"/>
            </a:b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626898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0sg.WUj_FQXK2sqPy2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PowerPoint template 16_9-2019.potx" id="{F434B48B-A650-4465-B341-BBC635E1BFE1}" vid="{B8104235-393B-4462-AD95-31AF29E7365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03cdf61-9bdb-4ab1-bf99-aabb6c694d24">
      <UserInfo>
        <DisplayName>Paquette, Joanie</DisplayName>
        <AccountId>9</AccountId>
        <AccountType/>
      </UserInfo>
      <UserInfo>
        <DisplayName>van der Peijl, Sebastiaan</DisplayName>
        <AccountId>13</AccountId>
        <AccountType/>
      </UserInfo>
      <UserInfo>
        <DisplayName>Papadimitriou, Angeliki</DisplayName>
        <AccountId>12</AccountId>
        <AccountType/>
      </UserInfo>
      <UserInfo>
        <DisplayName>de Graaf, Indira</DisplayName>
        <AccountId>22</AccountId>
        <AccountType/>
      </UserInfo>
      <UserInfo>
        <DisplayName>Skender, Gregor</DisplayName>
        <AccountId>23</AccountId>
        <AccountType/>
      </UserInfo>
    </SharedWithUsers>
    <lcf76f155ced4ddcb4097134ff3c332f xmlns="e0c4cf2c-1396-48e0-9fb8-701f9c1f262a">
      <Terms xmlns="http://schemas.microsoft.com/office/infopath/2007/PartnerControls"/>
    </lcf76f155ced4ddcb4097134ff3c332f>
    <TaxCatchAll xmlns="703cdf61-9bdb-4ab1-bf99-aabb6c694d2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FD093CA6EE9724F9D59C7B4BDDB6CF3" ma:contentTypeVersion="15" ma:contentTypeDescription="Ustvari nov dokument." ma:contentTypeScope="" ma:versionID="ed80cf22ceb283f6b226f0d3b4f51fb0">
  <xsd:schema xmlns:xsd="http://www.w3.org/2001/XMLSchema" xmlns:xs="http://www.w3.org/2001/XMLSchema" xmlns:p="http://schemas.microsoft.com/office/2006/metadata/properties" xmlns:ns2="703cdf61-9bdb-4ab1-bf99-aabb6c694d24" xmlns:ns3="e0c4cf2c-1396-48e0-9fb8-701f9c1f262a" targetNamespace="http://schemas.microsoft.com/office/2006/metadata/properties" ma:root="true" ma:fieldsID="4c68f0fa0e3419dd89357434dc39a82b" ns2:_="" ns3:_="">
    <xsd:import namespace="703cdf61-9bdb-4ab1-bf99-aabb6c694d24"/>
    <xsd:import namespace="e0c4cf2c-1396-48e0-9fb8-701f9c1f262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lcf76f155ced4ddcb4097134ff3c332f" minOccurs="0"/>
                <xsd:element ref="ns2:TaxCatchAll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3cdf61-9bdb-4ab1-bf99-aabb6c694d2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V skupni rabi z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V skupni rabi s podrobnostmi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c045dbe8-36ce-414e-b890-92d4d91653f2}" ma:internalName="TaxCatchAll" ma:showField="CatchAllData" ma:web="703cdf61-9bdb-4ab1-bf99-aabb6c694d2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c4cf2c-1396-48e0-9fb8-701f9c1f26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Oznake slike" ma:readOnly="false" ma:fieldId="{5cf76f15-5ced-4ddc-b409-7134ff3c332f}" ma:taxonomyMulti="true" ma:sspId="74e670e0-036f-40c5-a94b-014558db02e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Vrsta vsebine"/>
        <xsd:element ref="dc:title" minOccurs="0" maxOccurs="1" ma:index="4" ma:displayName="Naslov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3880592-5BB7-4BE6-8726-3C271C9BD4F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C7B6C76-A9DF-490A-A4B3-CBCCE46F8EB0}">
  <ds:schemaRefs>
    <ds:schemaRef ds:uri="0fbd8b1a-060b-47f6-89f5-8618f5969f5c"/>
    <ds:schemaRef ds:uri="7ae12c64-811e-44a5-94de-523976b2cfad"/>
    <ds:schemaRef ds:uri="85387e76-63fb-4a2e-bf36-2e88c7eaad0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65782AA-44D2-47ED-8EF7-9A52FA779966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89</Words>
  <Application>Microsoft Office PowerPoint</Application>
  <PresentationFormat>Breitbild</PresentationFormat>
  <Paragraphs>136</Paragraphs>
  <Slides>17</Slides>
  <Notes>16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2" baseType="lpstr">
      <vt:lpstr>Arial</vt:lpstr>
      <vt:lpstr>Verdana</vt:lpstr>
      <vt:lpstr>Wingdings 2</vt:lpstr>
      <vt:lpstr>Deloitte_US_Onscreen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</dc:title>
  <dc:creator>meichholtzer@deloitte.com</dc:creator>
  <cp:lastModifiedBy>Stefan Lilischkis</cp:lastModifiedBy>
  <cp:revision>1</cp:revision>
  <cp:lastPrinted>2014-06-25T02:16:22Z</cp:lastPrinted>
  <dcterms:created xsi:type="dcterms:W3CDTF">2019-02-12T18:34:27Z</dcterms:created>
  <dcterms:modified xsi:type="dcterms:W3CDTF">2023-01-23T14:2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3943DDA092CA41924750E24BC6ABA0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7-13T14:28:03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590c4484-7dba-439b-be2b-40b53054b23a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</Properties>
</file>